
<file path=[Content_Types].xml><?xml version="1.0" encoding="utf-8"?>
<Types xmlns="http://schemas.openxmlformats.org/package/2006/content-types">
  <Default Extension="fntdata" ContentType="application/x-fontdata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  <p:sldMasterId id="2147483673" r:id="rId2"/>
  </p:sldMasterIdLst>
  <p:notesMasterIdLst>
    <p:notesMasterId r:id="rId28"/>
  </p:notesMasterIdLst>
  <p:sldIdLst>
    <p:sldId id="258" r:id="rId3"/>
    <p:sldId id="256" r:id="rId4"/>
    <p:sldId id="267" r:id="rId5"/>
    <p:sldId id="276" r:id="rId6"/>
    <p:sldId id="257" r:id="rId7"/>
    <p:sldId id="279" r:id="rId8"/>
    <p:sldId id="266" r:id="rId9"/>
    <p:sldId id="274" r:id="rId10"/>
    <p:sldId id="284" r:id="rId11"/>
    <p:sldId id="285" r:id="rId12"/>
    <p:sldId id="288" r:id="rId13"/>
    <p:sldId id="287" r:id="rId14"/>
    <p:sldId id="271" r:id="rId15"/>
    <p:sldId id="272" r:id="rId16"/>
    <p:sldId id="259" r:id="rId17"/>
    <p:sldId id="273" r:id="rId18"/>
    <p:sldId id="269" r:id="rId19"/>
    <p:sldId id="289" r:id="rId20"/>
    <p:sldId id="270" r:id="rId21"/>
    <p:sldId id="277" r:id="rId22"/>
    <p:sldId id="280" r:id="rId23"/>
    <p:sldId id="281" r:id="rId24"/>
    <p:sldId id="282" r:id="rId25"/>
    <p:sldId id="283" r:id="rId26"/>
    <p:sldId id="268" r:id="rId27"/>
  </p:sldIdLst>
  <p:sldSz cx="12192000" cy="6858000"/>
  <p:notesSz cx="6858000" cy="9144000"/>
  <p:embeddedFontLst>
    <p:embeddedFont>
      <p:font typeface="Barlow Light" panose="020B0604020202020204" charset="0"/>
      <p:regular r:id="rId29"/>
      <p:bold r:id="rId30"/>
      <p:italic r:id="rId31"/>
      <p:boldItalic r:id="rId32"/>
    </p:embeddedFont>
    <p:embeddedFont>
      <p:font typeface="Calibri" panose="020F0502020204030204" pitchFamily="34" charset="0"/>
      <p:regular r:id="rId33"/>
      <p:bold r:id="rId34"/>
      <p:italic r:id="rId35"/>
      <p:boldItalic r:id="rId36"/>
    </p:embeddedFont>
    <p:embeddedFont>
      <p:font typeface="Consolas" panose="020B0609020204030204" pitchFamily="49" charset="0"/>
      <p:regular r:id="rId37"/>
      <p:bold r:id="rId38"/>
      <p:italic r:id="rId39"/>
      <p:boldItalic r:id="rId40"/>
    </p:embeddedFont>
    <p:embeddedFont>
      <p:font typeface="Oswald" pitchFamily="2" charset="0"/>
      <p:regular r:id="rId41"/>
      <p:bold r:id="rId42"/>
    </p:embeddedFont>
    <p:embeddedFont>
      <p:font typeface="Raleway" panose="020B0604020202020204" charset="0"/>
      <p:regular r:id="rId43"/>
      <p:bold r:id="rId44"/>
      <p:italic r:id="rId45"/>
      <p:boldItalic r:id="rId46"/>
    </p:embeddedFont>
    <p:embeddedFont>
      <p:font typeface="Raleway Thin" panose="020B0604020202020204" charset="0"/>
      <p:regular r:id="rId47"/>
      <p:bold r:id="rId48"/>
      <p:italic r:id="rId49"/>
      <p:boldItalic r:id="rId50"/>
    </p:embeddedFont>
    <p:embeddedFont>
      <p:font typeface="Sitka Text Semibold" pitchFamily="2" charset="0"/>
      <p:bold r:id="rId51"/>
      <p:boldItalic r:id="rId52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BFF21"/>
    <a:srgbClr val="EEE9FF"/>
    <a:srgbClr val="353535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60"/>
  </p:normalViewPr>
  <p:slideViewPr>
    <p:cSldViewPr snapToGrid="0">
      <p:cViewPr varScale="1">
        <p:scale>
          <a:sx n="72" d="100"/>
          <a:sy n="72" d="100"/>
        </p:scale>
        <p:origin x="660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font" Target="fonts/font11.fntdata"/><Relationship Id="rId21" Type="http://schemas.openxmlformats.org/officeDocument/2006/relationships/slide" Target="slides/slide19.xml"/><Relationship Id="rId34" Type="http://schemas.openxmlformats.org/officeDocument/2006/relationships/font" Target="fonts/font6.fntdata"/><Relationship Id="rId42" Type="http://schemas.openxmlformats.org/officeDocument/2006/relationships/font" Target="fonts/font14.fntdata"/><Relationship Id="rId47" Type="http://schemas.openxmlformats.org/officeDocument/2006/relationships/font" Target="fonts/font19.fntdata"/><Relationship Id="rId50" Type="http://schemas.openxmlformats.org/officeDocument/2006/relationships/font" Target="fonts/font22.fntdata"/><Relationship Id="rId55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font" Target="fonts/font5.fntdata"/><Relationship Id="rId38" Type="http://schemas.openxmlformats.org/officeDocument/2006/relationships/font" Target="fonts/font10.fntdata"/><Relationship Id="rId46" Type="http://schemas.openxmlformats.org/officeDocument/2006/relationships/font" Target="fonts/font18.fntdata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font" Target="fonts/font1.fntdata"/><Relationship Id="rId41" Type="http://schemas.openxmlformats.org/officeDocument/2006/relationships/font" Target="fonts/font13.fntdata"/><Relationship Id="rId54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font" Target="fonts/font4.fntdata"/><Relationship Id="rId37" Type="http://schemas.openxmlformats.org/officeDocument/2006/relationships/font" Target="fonts/font9.fntdata"/><Relationship Id="rId40" Type="http://schemas.openxmlformats.org/officeDocument/2006/relationships/font" Target="fonts/font12.fntdata"/><Relationship Id="rId45" Type="http://schemas.openxmlformats.org/officeDocument/2006/relationships/font" Target="fonts/font17.fntdata"/><Relationship Id="rId53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notesMaster" Target="notesMasters/notesMaster1.xml"/><Relationship Id="rId36" Type="http://schemas.openxmlformats.org/officeDocument/2006/relationships/font" Target="fonts/font8.fntdata"/><Relationship Id="rId49" Type="http://schemas.openxmlformats.org/officeDocument/2006/relationships/font" Target="fonts/font21.fntdata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font" Target="fonts/font3.fntdata"/><Relationship Id="rId44" Type="http://schemas.openxmlformats.org/officeDocument/2006/relationships/font" Target="fonts/font16.fntdata"/><Relationship Id="rId52" Type="http://schemas.openxmlformats.org/officeDocument/2006/relationships/font" Target="fonts/font24.fntdata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font" Target="fonts/font2.fntdata"/><Relationship Id="rId35" Type="http://schemas.openxmlformats.org/officeDocument/2006/relationships/font" Target="fonts/font7.fntdata"/><Relationship Id="rId43" Type="http://schemas.openxmlformats.org/officeDocument/2006/relationships/font" Target="fonts/font15.fntdata"/><Relationship Id="rId48" Type="http://schemas.openxmlformats.org/officeDocument/2006/relationships/font" Target="fonts/font20.fntdata"/><Relationship Id="rId56" Type="http://schemas.openxmlformats.org/officeDocument/2006/relationships/tableStyles" Target="tableStyles.xml"/><Relationship Id="rId8" Type="http://schemas.openxmlformats.org/officeDocument/2006/relationships/slide" Target="slides/slide6.xml"/><Relationship Id="rId51" Type="http://schemas.openxmlformats.org/officeDocument/2006/relationships/font" Target="fonts/font23.fntdata"/><Relationship Id="rId3" Type="http://schemas.openxmlformats.org/officeDocument/2006/relationships/slide" Target="slides/slid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C92B2DE-040E-43B3-9886-2B5924691215}" type="doc">
      <dgm:prSet loTypeId="urn:microsoft.com/office/officeart/2005/8/layout/target3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44D1B6F3-8129-4935-B5C5-B35AA362B4CC}">
      <dgm:prSet custT="1"/>
      <dgm:spPr/>
      <dgm:t>
        <a:bodyPr/>
        <a:lstStyle/>
        <a:p>
          <a:pPr algn="l"/>
          <a:r>
            <a:rPr lang="en-US" sz="2000" b="0" i="0"/>
            <a:t>Hình thành nên tư duy để giải quyết các bài toán khó không chỉ về khía cạnh công nghệ thông tin.</a:t>
          </a:r>
          <a:endParaRPr lang="en-US" sz="2000"/>
        </a:p>
      </dgm:t>
    </dgm:pt>
    <dgm:pt modelId="{B8FE882F-BAE7-42A2-9D03-116C7F55848E}" type="parTrans" cxnId="{A8AE6FCA-E55B-428F-9AB2-5CF6732FA21D}">
      <dgm:prSet/>
      <dgm:spPr/>
      <dgm:t>
        <a:bodyPr/>
        <a:lstStyle/>
        <a:p>
          <a:endParaRPr lang="en-US"/>
        </a:p>
      </dgm:t>
    </dgm:pt>
    <dgm:pt modelId="{BC73434C-6C87-4DC8-AAFC-02C9CCD279DD}" type="sibTrans" cxnId="{A8AE6FCA-E55B-428F-9AB2-5CF6732FA21D}">
      <dgm:prSet/>
      <dgm:spPr/>
      <dgm:t>
        <a:bodyPr/>
        <a:lstStyle/>
        <a:p>
          <a:endParaRPr lang="en-US"/>
        </a:p>
      </dgm:t>
    </dgm:pt>
    <dgm:pt modelId="{BD94B0F7-2D8B-46D1-8241-8FE5424D7DB8}">
      <dgm:prSet custT="1"/>
      <dgm:spPr/>
      <dgm:t>
        <a:bodyPr/>
        <a:lstStyle/>
        <a:p>
          <a:pPr algn="just"/>
          <a:r>
            <a:rPr lang="en-US" sz="2000" b="0" i="0"/>
            <a:t>Giải quyết các bài toán một cách công nghiệp hơn.</a:t>
          </a:r>
          <a:endParaRPr lang="en-US" sz="2000"/>
        </a:p>
      </dgm:t>
    </dgm:pt>
    <dgm:pt modelId="{1A7FF038-3484-4B36-A84A-0EF35B581DD7}" type="parTrans" cxnId="{AB466496-C7CA-4DA1-91CE-D93962660994}">
      <dgm:prSet/>
      <dgm:spPr/>
      <dgm:t>
        <a:bodyPr/>
        <a:lstStyle/>
        <a:p>
          <a:endParaRPr lang="en-US"/>
        </a:p>
      </dgm:t>
    </dgm:pt>
    <dgm:pt modelId="{8B39A908-5911-4023-8F60-26E9CB69573F}" type="sibTrans" cxnId="{AB466496-C7CA-4DA1-91CE-D93962660994}">
      <dgm:prSet/>
      <dgm:spPr/>
      <dgm:t>
        <a:bodyPr/>
        <a:lstStyle/>
        <a:p>
          <a:endParaRPr lang="en-US"/>
        </a:p>
      </dgm:t>
    </dgm:pt>
    <dgm:pt modelId="{118F8C5B-C862-4A55-B98D-31825DF497C8}">
      <dgm:prSet custT="1"/>
      <dgm:spPr/>
      <dgm:t>
        <a:bodyPr/>
        <a:lstStyle/>
        <a:p>
          <a:pPr algn="l"/>
          <a:r>
            <a:rPr lang="en-US" sz="2000" b="0" i="0"/>
            <a:t>Giúp phản ánh rõ ràng về vấn đề cần giải quyết và từ đó ta có thể lập trình giải pháp cho vấn đề.</a:t>
          </a:r>
          <a:endParaRPr lang="en-US" sz="2000"/>
        </a:p>
      </dgm:t>
    </dgm:pt>
    <dgm:pt modelId="{BC58F008-2B97-4A17-AF5A-485D1172978B}" type="parTrans" cxnId="{A5340EA9-A099-4E6D-95E2-E5B945C8290A}">
      <dgm:prSet/>
      <dgm:spPr/>
      <dgm:t>
        <a:bodyPr/>
        <a:lstStyle/>
        <a:p>
          <a:endParaRPr lang="en-US"/>
        </a:p>
      </dgm:t>
    </dgm:pt>
    <dgm:pt modelId="{8168D678-015A-4A6C-924F-8BA5E762D4D5}" type="sibTrans" cxnId="{A5340EA9-A099-4E6D-95E2-E5B945C8290A}">
      <dgm:prSet/>
      <dgm:spPr/>
      <dgm:t>
        <a:bodyPr/>
        <a:lstStyle/>
        <a:p>
          <a:endParaRPr lang="en-US"/>
        </a:p>
      </dgm:t>
    </dgm:pt>
    <dgm:pt modelId="{655B2133-2FD4-494D-933E-F618BD94B8AF}" type="pres">
      <dgm:prSet presAssocID="{FC92B2DE-040E-43B3-9886-2B5924691215}" presName="Name0" presStyleCnt="0">
        <dgm:presLayoutVars>
          <dgm:chMax val="7"/>
          <dgm:dir/>
          <dgm:animLvl val="lvl"/>
          <dgm:resizeHandles val="exact"/>
        </dgm:presLayoutVars>
      </dgm:prSet>
      <dgm:spPr/>
    </dgm:pt>
    <dgm:pt modelId="{B2859AB8-165B-4CCC-99D9-04F8BB2ECD45}" type="pres">
      <dgm:prSet presAssocID="{44D1B6F3-8129-4935-B5C5-B35AA362B4CC}" presName="circle1" presStyleLbl="node1" presStyleIdx="0" presStyleCnt="3"/>
      <dgm:spPr/>
    </dgm:pt>
    <dgm:pt modelId="{AB312FEF-541E-4A2E-9269-F7B6CD937DD0}" type="pres">
      <dgm:prSet presAssocID="{44D1B6F3-8129-4935-B5C5-B35AA362B4CC}" presName="space" presStyleCnt="0"/>
      <dgm:spPr/>
    </dgm:pt>
    <dgm:pt modelId="{EFDC9153-2A1C-40D2-8150-24F8807C5572}" type="pres">
      <dgm:prSet presAssocID="{44D1B6F3-8129-4935-B5C5-B35AA362B4CC}" presName="rect1" presStyleLbl="alignAcc1" presStyleIdx="0" presStyleCnt="3"/>
      <dgm:spPr/>
    </dgm:pt>
    <dgm:pt modelId="{04F43044-26DA-462C-B261-A9603AB933F3}" type="pres">
      <dgm:prSet presAssocID="{BD94B0F7-2D8B-46D1-8241-8FE5424D7DB8}" presName="vertSpace2" presStyleLbl="node1" presStyleIdx="0" presStyleCnt="3"/>
      <dgm:spPr/>
    </dgm:pt>
    <dgm:pt modelId="{EAFA3F90-9855-44A2-A671-7BD2EE8B7F75}" type="pres">
      <dgm:prSet presAssocID="{BD94B0F7-2D8B-46D1-8241-8FE5424D7DB8}" presName="circle2" presStyleLbl="node1" presStyleIdx="1" presStyleCnt="3"/>
      <dgm:spPr/>
    </dgm:pt>
    <dgm:pt modelId="{4CDC8AE6-BA2B-4F40-8595-8F0450A0A2DF}" type="pres">
      <dgm:prSet presAssocID="{BD94B0F7-2D8B-46D1-8241-8FE5424D7DB8}" presName="rect2" presStyleLbl="alignAcc1" presStyleIdx="1" presStyleCnt="3"/>
      <dgm:spPr/>
    </dgm:pt>
    <dgm:pt modelId="{9796EB7B-C9C2-4A02-88B2-734969A90892}" type="pres">
      <dgm:prSet presAssocID="{118F8C5B-C862-4A55-B98D-31825DF497C8}" presName="vertSpace3" presStyleLbl="node1" presStyleIdx="1" presStyleCnt="3"/>
      <dgm:spPr/>
    </dgm:pt>
    <dgm:pt modelId="{496ADDC0-92E6-4D5C-9C24-FE0817D670A5}" type="pres">
      <dgm:prSet presAssocID="{118F8C5B-C862-4A55-B98D-31825DF497C8}" presName="circle3" presStyleLbl="node1" presStyleIdx="2" presStyleCnt="3"/>
      <dgm:spPr/>
    </dgm:pt>
    <dgm:pt modelId="{3C61FE2B-18D4-4C3C-9E96-2C03F0E1995E}" type="pres">
      <dgm:prSet presAssocID="{118F8C5B-C862-4A55-B98D-31825DF497C8}" presName="rect3" presStyleLbl="alignAcc1" presStyleIdx="2" presStyleCnt="3"/>
      <dgm:spPr/>
    </dgm:pt>
    <dgm:pt modelId="{D8F6878C-6F1D-4BD2-A809-753797B5313E}" type="pres">
      <dgm:prSet presAssocID="{44D1B6F3-8129-4935-B5C5-B35AA362B4CC}" presName="rect1ParTxNoCh" presStyleLbl="alignAcc1" presStyleIdx="2" presStyleCnt="3">
        <dgm:presLayoutVars>
          <dgm:chMax val="1"/>
          <dgm:bulletEnabled val="1"/>
        </dgm:presLayoutVars>
      </dgm:prSet>
      <dgm:spPr/>
    </dgm:pt>
    <dgm:pt modelId="{11385D91-5BFF-4985-9B6C-D9D0C07AE766}" type="pres">
      <dgm:prSet presAssocID="{BD94B0F7-2D8B-46D1-8241-8FE5424D7DB8}" presName="rect2ParTxNoCh" presStyleLbl="alignAcc1" presStyleIdx="2" presStyleCnt="3">
        <dgm:presLayoutVars>
          <dgm:chMax val="1"/>
          <dgm:bulletEnabled val="1"/>
        </dgm:presLayoutVars>
      </dgm:prSet>
      <dgm:spPr/>
    </dgm:pt>
    <dgm:pt modelId="{8AF37379-1016-49DF-9687-404ED217DF3A}" type="pres">
      <dgm:prSet presAssocID="{118F8C5B-C862-4A55-B98D-31825DF497C8}" presName="rect3ParTxNoCh" presStyleLbl="alignAcc1" presStyleIdx="2" presStyleCnt="3">
        <dgm:presLayoutVars>
          <dgm:chMax val="1"/>
          <dgm:bulletEnabled val="1"/>
        </dgm:presLayoutVars>
      </dgm:prSet>
      <dgm:spPr/>
    </dgm:pt>
  </dgm:ptLst>
  <dgm:cxnLst>
    <dgm:cxn modelId="{ABE34E04-0763-4531-8934-90437A82F340}" type="presOf" srcId="{118F8C5B-C862-4A55-B98D-31825DF497C8}" destId="{8AF37379-1016-49DF-9687-404ED217DF3A}" srcOrd="1" destOrd="0" presId="urn:microsoft.com/office/officeart/2005/8/layout/target3"/>
    <dgm:cxn modelId="{30A25013-FC28-4E67-AA76-167400B4D548}" type="presOf" srcId="{BD94B0F7-2D8B-46D1-8241-8FE5424D7DB8}" destId="{4CDC8AE6-BA2B-4F40-8595-8F0450A0A2DF}" srcOrd="0" destOrd="0" presId="urn:microsoft.com/office/officeart/2005/8/layout/target3"/>
    <dgm:cxn modelId="{29585C67-8698-4E18-B92B-2C782AD6F12B}" type="presOf" srcId="{44D1B6F3-8129-4935-B5C5-B35AA362B4CC}" destId="{D8F6878C-6F1D-4BD2-A809-753797B5313E}" srcOrd="1" destOrd="0" presId="urn:microsoft.com/office/officeart/2005/8/layout/target3"/>
    <dgm:cxn modelId="{86079458-2D8A-48B9-AB4F-F2A9B67FAC5A}" type="presOf" srcId="{BD94B0F7-2D8B-46D1-8241-8FE5424D7DB8}" destId="{11385D91-5BFF-4985-9B6C-D9D0C07AE766}" srcOrd="1" destOrd="0" presId="urn:microsoft.com/office/officeart/2005/8/layout/target3"/>
    <dgm:cxn modelId="{AB466496-C7CA-4DA1-91CE-D93962660994}" srcId="{FC92B2DE-040E-43B3-9886-2B5924691215}" destId="{BD94B0F7-2D8B-46D1-8241-8FE5424D7DB8}" srcOrd="1" destOrd="0" parTransId="{1A7FF038-3484-4B36-A84A-0EF35B581DD7}" sibTransId="{8B39A908-5911-4023-8F60-26E9CB69573F}"/>
    <dgm:cxn modelId="{CCBCC596-685B-4123-98A0-24BE47EE6208}" type="presOf" srcId="{FC92B2DE-040E-43B3-9886-2B5924691215}" destId="{655B2133-2FD4-494D-933E-F618BD94B8AF}" srcOrd="0" destOrd="0" presId="urn:microsoft.com/office/officeart/2005/8/layout/target3"/>
    <dgm:cxn modelId="{A5340EA9-A099-4E6D-95E2-E5B945C8290A}" srcId="{FC92B2DE-040E-43B3-9886-2B5924691215}" destId="{118F8C5B-C862-4A55-B98D-31825DF497C8}" srcOrd="2" destOrd="0" parTransId="{BC58F008-2B97-4A17-AF5A-485D1172978B}" sibTransId="{8168D678-015A-4A6C-924F-8BA5E762D4D5}"/>
    <dgm:cxn modelId="{11CEAFC6-04E7-41AD-90C0-BD8347106F91}" type="presOf" srcId="{118F8C5B-C862-4A55-B98D-31825DF497C8}" destId="{3C61FE2B-18D4-4C3C-9E96-2C03F0E1995E}" srcOrd="0" destOrd="0" presId="urn:microsoft.com/office/officeart/2005/8/layout/target3"/>
    <dgm:cxn modelId="{A8AE6FCA-E55B-428F-9AB2-5CF6732FA21D}" srcId="{FC92B2DE-040E-43B3-9886-2B5924691215}" destId="{44D1B6F3-8129-4935-B5C5-B35AA362B4CC}" srcOrd="0" destOrd="0" parTransId="{B8FE882F-BAE7-42A2-9D03-116C7F55848E}" sibTransId="{BC73434C-6C87-4DC8-AAFC-02C9CCD279DD}"/>
    <dgm:cxn modelId="{581E60DF-C219-4442-9FA9-2155F77A435F}" type="presOf" srcId="{44D1B6F3-8129-4935-B5C5-B35AA362B4CC}" destId="{EFDC9153-2A1C-40D2-8150-24F8807C5572}" srcOrd="0" destOrd="0" presId="urn:microsoft.com/office/officeart/2005/8/layout/target3"/>
    <dgm:cxn modelId="{1748AED5-8C9D-4CF8-97C0-822B0BE502D6}" type="presParOf" srcId="{655B2133-2FD4-494D-933E-F618BD94B8AF}" destId="{B2859AB8-165B-4CCC-99D9-04F8BB2ECD45}" srcOrd="0" destOrd="0" presId="urn:microsoft.com/office/officeart/2005/8/layout/target3"/>
    <dgm:cxn modelId="{5971FCCC-E75D-45D3-9E4B-19BE06045765}" type="presParOf" srcId="{655B2133-2FD4-494D-933E-F618BD94B8AF}" destId="{AB312FEF-541E-4A2E-9269-F7B6CD937DD0}" srcOrd="1" destOrd="0" presId="urn:microsoft.com/office/officeart/2005/8/layout/target3"/>
    <dgm:cxn modelId="{F7DAB75F-F52B-482C-BB6C-DDEC2897F47E}" type="presParOf" srcId="{655B2133-2FD4-494D-933E-F618BD94B8AF}" destId="{EFDC9153-2A1C-40D2-8150-24F8807C5572}" srcOrd="2" destOrd="0" presId="urn:microsoft.com/office/officeart/2005/8/layout/target3"/>
    <dgm:cxn modelId="{3950BFAA-2CA8-4BB2-82AE-051C5C08578E}" type="presParOf" srcId="{655B2133-2FD4-494D-933E-F618BD94B8AF}" destId="{04F43044-26DA-462C-B261-A9603AB933F3}" srcOrd="3" destOrd="0" presId="urn:microsoft.com/office/officeart/2005/8/layout/target3"/>
    <dgm:cxn modelId="{02B23DBB-3245-472C-91E7-FA794BF1C4FF}" type="presParOf" srcId="{655B2133-2FD4-494D-933E-F618BD94B8AF}" destId="{EAFA3F90-9855-44A2-A671-7BD2EE8B7F75}" srcOrd="4" destOrd="0" presId="urn:microsoft.com/office/officeart/2005/8/layout/target3"/>
    <dgm:cxn modelId="{A3C83AAE-5021-461A-A881-D0D131EF16D8}" type="presParOf" srcId="{655B2133-2FD4-494D-933E-F618BD94B8AF}" destId="{4CDC8AE6-BA2B-4F40-8595-8F0450A0A2DF}" srcOrd="5" destOrd="0" presId="urn:microsoft.com/office/officeart/2005/8/layout/target3"/>
    <dgm:cxn modelId="{ED066605-CBEB-4413-802A-213FB59F8118}" type="presParOf" srcId="{655B2133-2FD4-494D-933E-F618BD94B8AF}" destId="{9796EB7B-C9C2-4A02-88B2-734969A90892}" srcOrd="6" destOrd="0" presId="urn:microsoft.com/office/officeart/2005/8/layout/target3"/>
    <dgm:cxn modelId="{66168B8D-894A-4A9A-87AE-F7E6098D00BB}" type="presParOf" srcId="{655B2133-2FD4-494D-933E-F618BD94B8AF}" destId="{496ADDC0-92E6-4D5C-9C24-FE0817D670A5}" srcOrd="7" destOrd="0" presId="urn:microsoft.com/office/officeart/2005/8/layout/target3"/>
    <dgm:cxn modelId="{157636D1-91E6-4601-8A5C-9CCD29A4A9A2}" type="presParOf" srcId="{655B2133-2FD4-494D-933E-F618BD94B8AF}" destId="{3C61FE2B-18D4-4C3C-9E96-2C03F0E1995E}" srcOrd="8" destOrd="0" presId="urn:microsoft.com/office/officeart/2005/8/layout/target3"/>
    <dgm:cxn modelId="{1C04819C-A46D-4D13-85C9-89B3C18A3431}" type="presParOf" srcId="{655B2133-2FD4-494D-933E-F618BD94B8AF}" destId="{D8F6878C-6F1D-4BD2-A809-753797B5313E}" srcOrd="9" destOrd="0" presId="urn:microsoft.com/office/officeart/2005/8/layout/target3"/>
    <dgm:cxn modelId="{9D695295-3303-4D7F-9ADB-CA130C22EFF7}" type="presParOf" srcId="{655B2133-2FD4-494D-933E-F618BD94B8AF}" destId="{11385D91-5BFF-4985-9B6C-D9D0C07AE766}" srcOrd="10" destOrd="0" presId="urn:microsoft.com/office/officeart/2005/8/layout/target3"/>
    <dgm:cxn modelId="{987FC2D6-04DF-4AFA-A9FA-029EE361C94F}" type="presParOf" srcId="{655B2133-2FD4-494D-933E-F618BD94B8AF}" destId="{8AF37379-1016-49DF-9687-404ED217DF3A}" srcOrd="11" destOrd="0" presId="urn:microsoft.com/office/officeart/2005/8/layout/targe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2859AB8-165B-4CCC-99D9-04F8BB2ECD45}">
      <dsp:nvSpPr>
        <dsp:cNvPr id="0" name=""/>
        <dsp:cNvSpPr/>
      </dsp:nvSpPr>
      <dsp:spPr>
        <a:xfrm>
          <a:off x="0" y="0"/>
          <a:ext cx="3956506" cy="3956506"/>
        </a:xfrm>
        <a:prstGeom prst="pie">
          <a:avLst>
            <a:gd name="adj1" fmla="val 5400000"/>
            <a:gd name="adj2" fmla="val 162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FDC9153-2A1C-40D2-8150-24F8807C5572}">
      <dsp:nvSpPr>
        <dsp:cNvPr id="0" name=""/>
        <dsp:cNvSpPr/>
      </dsp:nvSpPr>
      <dsp:spPr>
        <a:xfrm>
          <a:off x="1978253" y="0"/>
          <a:ext cx="7351276" cy="3956506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0" i="0" kern="1200"/>
            <a:t>Hình thành nên tư duy để giải quyết các bài toán khó không chỉ về khía cạnh công nghệ thông tin.</a:t>
          </a:r>
          <a:endParaRPr lang="en-US" sz="2000" kern="1200"/>
        </a:p>
      </dsp:txBody>
      <dsp:txXfrm>
        <a:off x="1978253" y="0"/>
        <a:ext cx="7351276" cy="1186954"/>
      </dsp:txXfrm>
    </dsp:sp>
    <dsp:sp modelId="{EAFA3F90-9855-44A2-A671-7BD2EE8B7F75}">
      <dsp:nvSpPr>
        <dsp:cNvPr id="0" name=""/>
        <dsp:cNvSpPr/>
      </dsp:nvSpPr>
      <dsp:spPr>
        <a:xfrm>
          <a:off x="692390" y="1186954"/>
          <a:ext cx="2571726" cy="2571726"/>
        </a:xfrm>
        <a:prstGeom prst="pie">
          <a:avLst>
            <a:gd name="adj1" fmla="val 5400000"/>
            <a:gd name="adj2" fmla="val 162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CDC8AE6-BA2B-4F40-8595-8F0450A0A2DF}">
      <dsp:nvSpPr>
        <dsp:cNvPr id="0" name=""/>
        <dsp:cNvSpPr/>
      </dsp:nvSpPr>
      <dsp:spPr>
        <a:xfrm>
          <a:off x="1978253" y="1186954"/>
          <a:ext cx="7351276" cy="2571726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just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0" i="0" kern="1200"/>
            <a:t>Giải quyết các bài toán một cách công nghiệp hơn.</a:t>
          </a:r>
          <a:endParaRPr lang="en-US" sz="2000" kern="1200"/>
        </a:p>
      </dsp:txBody>
      <dsp:txXfrm>
        <a:off x="1978253" y="1186954"/>
        <a:ext cx="7351276" cy="1186950"/>
      </dsp:txXfrm>
    </dsp:sp>
    <dsp:sp modelId="{496ADDC0-92E6-4D5C-9C24-FE0817D670A5}">
      <dsp:nvSpPr>
        <dsp:cNvPr id="0" name=""/>
        <dsp:cNvSpPr/>
      </dsp:nvSpPr>
      <dsp:spPr>
        <a:xfrm>
          <a:off x="1384778" y="2373905"/>
          <a:ext cx="1186950" cy="1186950"/>
        </a:xfrm>
        <a:prstGeom prst="pie">
          <a:avLst>
            <a:gd name="adj1" fmla="val 5400000"/>
            <a:gd name="adj2" fmla="val 162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C61FE2B-18D4-4C3C-9E96-2C03F0E1995E}">
      <dsp:nvSpPr>
        <dsp:cNvPr id="0" name=""/>
        <dsp:cNvSpPr/>
      </dsp:nvSpPr>
      <dsp:spPr>
        <a:xfrm>
          <a:off x="1978253" y="2373905"/>
          <a:ext cx="7351276" cy="118695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0" i="0" kern="1200"/>
            <a:t>Giúp phản ánh rõ ràng về vấn đề cần giải quyết và từ đó ta có thể lập trình giải pháp cho vấn đề.</a:t>
          </a:r>
          <a:endParaRPr lang="en-US" sz="2000" kern="1200"/>
        </a:p>
      </dsp:txBody>
      <dsp:txXfrm>
        <a:off x="1978253" y="2373905"/>
        <a:ext cx="7351276" cy="118695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target3">
  <dgm:title val=""/>
  <dgm:desc val=""/>
  <dgm:catLst>
    <dgm:cat type="relationship" pri="11000"/>
    <dgm:cat type="list" pri="22000"/>
    <dgm:cat type="convert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clrData>
  <dgm:layoutNode name="Name0">
    <dgm:varLst>
      <dgm:chMax val="7"/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1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l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l" for="ch" forName="rect7" refType="r" refFor="ch" refForName="space"/>
              <dgm:constr type="r" for="ch" forName="rect7" refType="w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l" for="ch" forName="rect7ParTx" refType="r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l" for="ch" forName="rect7ChTx" refType="r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l" for="ch" forName="rect7ParTxNoCh" refType="r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11">
            <dgm:constrLst/>
          </dgm:else>
        </dgm:choose>
      </dgm:if>
      <dgm:else name="Name12">
        <dgm:choose name="Name13">
          <dgm:if name="Name1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1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1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1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1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1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2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r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r" for="ch" forName="rect7" refType="l" refFor="ch" refForName="space"/>
              <dgm:constr type="l" for="ch" forName="rect7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r" for="ch" forName="rect7ParTx" refType="l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r" for="ch" forName="rect7ChTx" refType="l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r" for="ch" forName="rect7ParTxNoCh" refType="l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21">
            <dgm:constrLst/>
          </dgm:else>
        </dgm:choose>
      </dgm:else>
    </dgm:choose>
    <dgm:ruleLst/>
    <dgm:forEach name="Name22" axis="ch" ptType="node" cnt="1">
      <dgm:layoutNode name="circle1" styleLbl="node1">
        <dgm:alg type="sp"/>
        <dgm:choose name="Name23">
          <dgm:if name="Name2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rect1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26" axis="ch" ptType="node" st="2" cnt="1">
      <dgm:layoutNode name="vertSpace2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2" styleLbl="node1">
        <dgm:alg type="sp"/>
        <dgm:choose name="Name27">
          <dgm:if name="Name2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2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0" axis="ch" ptType="node" st="3" cnt="1">
      <dgm:layoutNode name="vertSpace3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3" styleLbl="node1">
        <dgm:alg type="sp"/>
        <dgm:choose name="Name31">
          <dgm:if name="Name32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3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3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4" axis="ch" ptType="node" st="4" cnt="1">
      <dgm:layoutNode name="vertSpace4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4" styleLbl="node1">
        <dgm:alg type="sp"/>
        <dgm:choose name="Name35">
          <dgm:if name="Name36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7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4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8" axis="ch" ptType="node" st="5" cnt="1">
      <dgm:layoutNode name="vertSpace5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5" styleLbl="node1">
        <dgm:alg type="sp"/>
        <dgm:choose name="Name39">
          <dgm:if name="Name40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1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5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2" axis="ch" ptType="node" st="6" cnt="1">
      <dgm:layoutNode name="vertSpace6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6" styleLbl="node1">
        <dgm:alg type="sp"/>
        <dgm:choose name="Name43">
          <dgm:if name="Name4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6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6" axis="ch" ptType="node" st="7" cnt="1">
      <dgm:layoutNode name="vertSpace7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7" styleLbl="node1">
        <dgm:alg type="sp"/>
        <dgm:choose name="Name47">
          <dgm:if name="Name4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7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50" axis="ch" ptType="node" cnt="1">
      <dgm:choose name="Name51">
        <dgm:if name="Name52" axis="root des" ptType="all node" func="maxDepth" op="gte" val="2">
          <dgm:layoutNode name="rect1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1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3">
          <dgm:layoutNode name="rect1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4" axis="ch" ptType="node" st="2" cnt="1">
      <dgm:choose name="Name55">
        <dgm:if name="Name56" axis="root des" ptType="all node" func="maxDepth" op="gte" val="2">
          <dgm:layoutNode name="rect2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2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7">
          <dgm:layoutNode name="rect2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8" axis="ch" ptType="node" st="3" cnt="1">
      <dgm:choose name="Name59">
        <dgm:if name="Name60" axis="root des" ptType="all node" func="maxDepth" op="gte" val="2">
          <dgm:layoutNode name="rect3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3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1">
          <dgm:layoutNode name="rect3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2" axis="ch" ptType="node" st="4" cnt="1">
      <dgm:choose name="Name63">
        <dgm:if name="Name64" axis="root des" ptType="all node" func="maxDepth" op="gte" val="2">
          <dgm:layoutNode name="rect4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4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5">
          <dgm:layoutNode name="rect4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6" axis="ch" ptType="node" st="5" cnt="1">
      <dgm:choose name="Name67">
        <dgm:if name="Name68" axis="root des" ptType="all node" func="maxDepth" op="gte" val="2">
          <dgm:layoutNode name="rect5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5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9">
          <dgm:layoutNode name="rect5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0" axis="ch" ptType="node" st="6" cnt="1">
      <dgm:choose name="Name71">
        <dgm:if name="Name72" axis="root des" ptType="all node" func="maxDepth" op="gte" val="2">
          <dgm:layoutNode name="rect6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6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3">
          <dgm:layoutNode name="rect6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4" axis="ch" ptType="node" st="7" cnt="1">
      <dgm:choose name="Name75">
        <dgm:if name="Name76" axis="root des" ptType="all node" func="maxDepth" op="gte" val="2">
          <dgm:layoutNode name="rect7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7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7">
          <dgm:layoutNode name="rect7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4148CFD-85C6-4DAA-946A-E12D2674B5F4}" type="datetimeFigureOut">
              <a:rPr lang="en-US" smtClean="0"/>
              <a:t>6/8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4B520DA-E91E-4C62-B743-31994876CE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5515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owerusersoftwares.com/" TargetMode="External"/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owerusersoftwares.com/terms" TargetMode="Externa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Google Shape;60;g35f391192_0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1" name="Google Shape;61;g35f391192_0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is template was inserted from Power-user, the productivity add-in for PowerPoint, Excel and Word.</a:t>
            </a:r>
          </a:p>
          <a:p>
            <a:r>
              <a:rPr lang="en-US" dirty="0"/>
              <a:t>Install Power-user to access thousands of templates, icons, maps, diagrams and charts with Power-user.</a:t>
            </a:r>
          </a:p>
          <a:p>
            <a:r>
              <a:rPr lang="en-US" dirty="0"/>
              <a:t>Visit </a:t>
            </a:r>
            <a:r>
              <a:rPr lang="en-US" dirty="0">
                <a:hlinkClick r:id="rId3"/>
              </a:rPr>
              <a:t>https://www.powerusersoftwares.com/</a:t>
            </a:r>
            <a:endParaRPr lang="en-US" dirty="0"/>
          </a:p>
          <a:p>
            <a:r>
              <a:rPr lang="en-US" dirty="0"/>
              <a:t>©Power-user SAS, terms of license: </a:t>
            </a:r>
            <a:r>
              <a:rPr lang="en-US" dirty="0">
                <a:hlinkClick r:id="rId4"/>
              </a:rPr>
              <a:t>https://www.powerusersoftwares.com/term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654813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" type="title">
  <p:cSld name="Titl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1435100" y="2484800"/>
            <a:ext cx="6616800" cy="18884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Google Shape;11;p2"/>
          <p:cNvSpPr/>
          <p:nvPr/>
        </p:nvSpPr>
        <p:spPr>
          <a:xfrm rot="5400000">
            <a:off x="-404500" y="2889207"/>
            <a:ext cx="1888400" cy="10796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</p:spTree>
    <p:extLst>
      <p:ext uri="{BB962C8B-B14F-4D97-AF65-F5344CB8AC3E}">
        <p14:creationId xmlns:p14="http://schemas.microsoft.com/office/powerpoint/2010/main" val="20666486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dark">
  <p:cSld name="Blank dark">
    <p:bg>
      <p:bgPr>
        <a:gradFill>
          <a:gsLst>
            <a:gs pos="0">
              <a:schemeClr val="accent1"/>
            </a:gs>
            <a:gs pos="50000">
              <a:schemeClr val="accent1"/>
            </a:gs>
            <a:gs pos="100000">
              <a:schemeClr val="accent2"/>
            </a:gs>
          </a:gsLst>
          <a:lin ang="16200038" scaled="0"/>
        </a:gradFill>
        <a:effectLst/>
      </p:bgPr>
    </p:bg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p11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8" name="Google Shape;58;p11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 rtl="0">
              <a:buNone/>
              <a:defRPr>
                <a:solidFill>
                  <a:schemeClr val="accent2"/>
                </a:solidFill>
              </a:defRPr>
            </a:lvl1pPr>
            <a:lvl2pPr lvl="1" rtl="0">
              <a:buNone/>
              <a:defRPr>
                <a:solidFill>
                  <a:schemeClr val="accent2"/>
                </a:solidFill>
              </a:defRPr>
            </a:lvl2pPr>
            <a:lvl3pPr lvl="2" rtl="0">
              <a:buNone/>
              <a:defRPr>
                <a:solidFill>
                  <a:schemeClr val="accent2"/>
                </a:solidFill>
              </a:defRPr>
            </a:lvl3pPr>
            <a:lvl4pPr lvl="3" rtl="0">
              <a:buNone/>
              <a:defRPr>
                <a:solidFill>
                  <a:schemeClr val="accent2"/>
                </a:solidFill>
              </a:defRPr>
            </a:lvl4pPr>
            <a:lvl5pPr lvl="4" rtl="0">
              <a:buNone/>
              <a:defRPr>
                <a:solidFill>
                  <a:schemeClr val="accent2"/>
                </a:solidFill>
              </a:defRPr>
            </a:lvl5pPr>
            <a:lvl6pPr lvl="5" rtl="0">
              <a:buNone/>
              <a:defRPr>
                <a:solidFill>
                  <a:schemeClr val="accent2"/>
                </a:solidFill>
              </a:defRPr>
            </a:lvl6pPr>
            <a:lvl7pPr lvl="6" rtl="0">
              <a:buNone/>
              <a:defRPr>
                <a:solidFill>
                  <a:schemeClr val="accent2"/>
                </a:solidFill>
              </a:defRPr>
            </a:lvl7pPr>
            <a:lvl8pPr lvl="7" rtl="0">
              <a:buNone/>
              <a:defRPr>
                <a:solidFill>
                  <a:schemeClr val="accent2"/>
                </a:solidFill>
              </a:defRPr>
            </a:lvl8pPr>
            <a:lvl9pPr lvl="8" rtl="0">
              <a:buNone/>
              <a:defRPr>
                <a:solidFill>
                  <a:schemeClr val="accent2"/>
                </a:solidFill>
              </a:defRPr>
            </a:lvl9pPr>
          </a:lstStyle>
          <a:p>
            <a:fld id="{543D5730-5A8B-4621-86A5-6D310D84EA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26499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44E217-D27D-4BE0-96A8-8826FB8828D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A9560A2-C641-4F90-9C3B-872C1E87EA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E98580F-82EF-4D1D-92A1-C05E386E26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C2DCA5-3E11-46AD-879D-3B7693B7F600}" type="datetimeFigureOut">
              <a:rPr lang="en-US" smtClean="0"/>
              <a:t>6/8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5171D1F-29F1-4069-9249-7FA204B662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03DE19-F9C9-4C98-99EC-3C634ECABC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3D5730-5A8B-4621-86A5-6D310D84EA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668683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6C2126-ABDD-4ADF-9744-837714B677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75FD9F-ED96-4575-A846-476A9022CD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0D43635-0B76-4042-A7DF-40AE9D9247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C2DCA5-3E11-46AD-879D-3B7693B7F600}" type="datetimeFigureOut">
              <a:rPr lang="en-US" smtClean="0"/>
              <a:t>6/8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859CC8C-070F-4C18-A3C3-C062F4E535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75832F-3508-4A46-A6B1-AC19CD8D6B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3D5730-5A8B-4621-86A5-6D310D84EA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95546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" type="title">
  <p:cSld name="Titl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1435100" y="2484800"/>
            <a:ext cx="6616800" cy="18884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endParaRPr/>
          </a:p>
        </p:txBody>
      </p:sp>
      <p:sp>
        <p:nvSpPr>
          <p:cNvPr id="11" name="Google Shape;11;p2"/>
          <p:cNvSpPr/>
          <p:nvPr/>
        </p:nvSpPr>
        <p:spPr>
          <a:xfrm rot="5400000">
            <a:off x="-404500" y="2889207"/>
            <a:ext cx="1888400" cy="10796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</p:spTree>
    <p:extLst>
      <p:ext uri="{BB962C8B-B14F-4D97-AF65-F5344CB8AC3E}">
        <p14:creationId xmlns:p14="http://schemas.microsoft.com/office/powerpoint/2010/main" val="119528940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ubtitle">
  <p:cSld name="Subtitle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Google Shape;13;p3"/>
          <p:cNvSpPr txBox="1">
            <a:spLocks noGrp="1"/>
          </p:cNvSpPr>
          <p:nvPr>
            <p:ph type="ctrTitle"/>
          </p:nvPr>
        </p:nvSpPr>
        <p:spPr>
          <a:xfrm>
            <a:off x="1447800" y="2708033"/>
            <a:ext cx="6235600" cy="15464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1pPr>
            <a:lvl2pPr lvl="1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2pPr>
            <a:lvl3pPr lvl="2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3pPr>
            <a:lvl4pPr lvl="3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4pPr>
            <a:lvl5pPr lvl="4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5pPr>
            <a:lvl6pPr lvl="5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6pPr>
            <a:lvl7pPr lvl="6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7pPr>
            <a:lvl8pPr lvl="7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8pPr>
            <a:lvl9pPr lvl="8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9pPr>
          </a:lstStyle>
          <a:p>
            <a:endParaRPr/>
          </a:p>
        </p:txBody>
      </p:sp>
      <p:sp>
        <p:nvSpPr>
          <p:cNvPr id="14" name="Google Shape;14;p3"/>
          <p:cNvSpPr txBox="1">
            <a:spLocks noGrp="1"/>
          </p:cNvSpPr>
          <p:nvPr>
            <p:ph type="subTitle" idx="1"/>
          </p:nvPr>
        </p:nvSpPr>
        <p:spPr>
          <a:xfrm>
            <a:off x="1447800" y="4383635"/>
            <a:ext cx="6235600" cy="511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>
                <a:solidFill>
                  <a:schemeClr val="dk2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15" name="Google Shape;15;p3"/>
          <p:cNvSpPr/>
          <p:nvPr/>
        </p:nvSpPr>
        <p:spPr>
          <a:xfrm rot="5400000">
            <a:off x="-404500" y="2889207"/>
            <a:ext cx="1888400" cy="10796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</p:spTree>
    <p:extLst>
      <p:ext uri="{BB962C8B-B14F-4D97-AF65-F5344CB8AC3E}">
        <p14:creationId xmlns:p14="http://schemas.microsoft.com/office/powerpoint/2010/main" val="166407843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">
  <p:cSld name="Quote">
    <p:bg>
      <p:bgPr>
        <a:gradFill>
          <a:gsLst>
            <a:gs pos="0">
              <a:schemeClr val="accent1"/>
            </a:gs>
            <a:gs pos="50000">
              <a:schemeClr val="accent1"/>
            </a:gs>
            <a:gs pos="100000">
              <a:schemeClr val="accent2"/>
            </a:gs>
          </a:gsLst>
          <a:lin ang="16200038" scaled="0"/>
        </a:gradFill>
        <a:effectLst/>
      </p:bgPr>
    </p:bg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18" name="Google Shape;18;p4"/>
          <p:cNvSpPr/>
          <p:nvPr/>
        </p:nvSpPr>
        <p:spPr>
          <a:xfrm rot="5400000">
            <a:off x="-404500" y="1236540"/>
            <a:ext cx="1888400" cy="1079600"/>
          </a:xfrm>
          <a:prstGeom prst="triangle">
            <a:avLst>
              <a:gd name="adj" fmla="val 50000"/>
            </a:avLst>
          </a:pr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19" name="Google Shape;19;p4"/>
          <p:cNvSpPr txBox="1">
            <a:spLocks noGrp="1"/>
          </p:cNvSpPr>
          <p:nvPr>
            <p:ph type="body" idx="1"/>
          </p:nvPr>
        </p:nvSpPr>
        <p:spPr>
          <a:xfrm>
            <a:off x="1385400" y="1371100"/>
            <a:ext cx="6323600" cy="47732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▸"/>
              <a:defRPr sz="4267">
                <a:solidFill>
                  <a:schemeClr val="lt1"/>
                </a:solidFill>
              </a:defRPr>
            </a:lvl1pPr>
            <a:lvl2pPr marL="1219170" lvl="1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2pPr>
            <a:lvl3pPr marL="1828754" lvl="2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3pPr>
            <a:lvl4pPr marL="2438339" lvl="3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4pPr>
            <a:lvl5pPr marL="3047924" lvl="4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5pPr>
            <a:lvl6pPr marL="3657509" lvl="5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6pPr>
            <a:lvl7pPr marL="4267093" lvl="6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7pPr>
            <a:lvl8pPr marL="4876678" lvl="7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8pPr>
            <a:lvl9pPr marL="5486263" lvl="8" indent="-575719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20" name="Google Shape;20;p4"/>
          <p:cNvSpPr txBox="1"/>
          <p:nvPr/>
        </p:nvSpPr>
        <p:spPr>
          <a:xfrm>
            <a:off x="25400" y="1245033"/>
            <a:ext cx="708000" cy="87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1466" b="1">
                <a:solidFill>
                  <a:schemeClr val="accent2"/>
                </a:solidFill>
                <a:latin typeface="Raleway"/>
                <a:ea typeface="Raleway"/>
                <a:cs typeface="Raleway"/>
                <a:sym typeface="Raleway"/>
              </a:rPr>
              <a:t>“</a:t>
            </a:r>
            <a:endParaRPr sz="11466" b="1">
              <a:solidFill>
                <a:schemeClr val="accent2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21" name="Google Shape;21;p4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>
                <a:solidFill>
                  <a:schemeClr val="accent2"/>
                </a:solidFill>
              </a:defRPr>
            </a:lvl1pPr>
            <a:lvl2pPr lvl="1">
              <a:buNone/>
              <a:defRPr>
                <a:solidFill>
                  <a:schemeClr val="accent2"/>
                </a:solidFill>
              </a:defRPr>
            </a:lvl2pPr>
            <a:lvl3pPr lvl="2">
              <a:buNone/>
              <a:defRPr>
                <a:solidFill>
                  <a:schemeClr val="accent2"/>
                </a:solidFill>
              </a:defRPr>
            </a:lvl3pPr>
            <a:lvl4pPr lvl="3">
              <a:buNone/>
              <a:defRPr>
                <a:solidFill>
                  <a:schemeClr val="accent2"/>
                </a:solidFill>
              </a:defRPr>
            </a:lvl4pPr>
            <a:lvl5pPr lvl="4">
              <a:buNone/>
              <a:defRPr>
                <a:solidFill>
                  <a:schemeClr val="accent2"/>
                </a:solidFill>
              </a:defRPr>
            </a:lvl5pPr>
            <a:lvl6pPr lvl="5">
              <a:buNone/>
              <a:defRPr>
                <a:solidFill>
                  <a:schemeClr val="accent2"/>
                </a:solidFill>
              </a:defRPr>
            </a:lvl6pPr>
            <a:lvl7pPr lvl="6">
              <a:buNone/>
              <a:defRPr>
                <a:solidFill>
                  <a:schemeClr val="accent2"/>
                </a:solidFill>
              </a:defRPr>
            </a:lvl7pPr>
            <a:lvl8pPr lvl="7">
              <a:buNone/>
              <a:defRPr>
                <a:solidFill>
                  <a:schemeClr val="accent2"/>
                </a:solidFill>
              </a:defRPr>
            </a:lvl8pPr>
            <a:lvl9pPr lvl="8">
              <a:buNone/>
              <a:defRPr>
                <a:solidFill>
                  <a:schemeClr val="accent2"/>
                </a:solidFill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80400378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1 column" type="tx">
  <p:cSld name="Title + 1 column"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Google Shape;23;p5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24" name="Google Shape;24;p5"/>
          <p:cNvSpPr/>
          <p:nvPr/>
        </p:nvSpPr>
        <p:spPr>
          <a:xfrm rot="5400000">
            <a:off x="-133800" y="965980"/>
            <a:ext cx="624800" cy="3572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25" name="Google Shape;25;p5"/>
          <p:cNvSpPr txBox="1">
            <a:spLocks noGrp="1"/>
          </p:cNvSpPr>
          <p:nvPr>
            <p:ph type="title"/>
          </p:nvPr>
        </p:nvSpPr>
        <p:spPr>
          <a:xfrm>
            <a:off x="609600" y="807467"/>
            <a:ext cx="7521200" cy="1443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endParaRPr/>
          </a:p>
        </p:txBody>
      </p:sp>
      <p:sp>
        <p:nvSpPr>
          <p:cNvPr id="26" name="Google Shape;26;p5"/>
          <p:cNvSpPr txBox="1">
            <a:spLocks noGrp="1"/>
          </p:cNvSpPr>
          <p:nvPr>
            <p:ph type="body" idx="1"/>
          </p:nvPr>
        </p:nvSpPr>
        <p:spPr>
          <a:xfrm>
            <a:off x="609600" y="2661000"/>
            <a:ext cx="7521200" cy="35212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57189">
              <a:spcBef>
                <a:spcPts val="800"/>
              </a:spcBef>
              <a:spcAft>
                <a:spcPts val="0"/>
              </a:spcAft>
              <a:buSzPts val="1800"/>
              <a:buChar char="▸"/>
              <a:defRPr/>
            </a:lvl1pPr>
            <a:lvl2pPr marL="1219170" lvl="1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/>
            </a:lvl2pPr>
            <a:lvl3pPr marL="1828754" lvl="2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/>
            </a:lvl3pPr>
            <a:lvl4pPr marL="2438339" lvl="3" indent="-474121">
              <a:spcBef>
                <a:spcPts val="800"/>
              </a:spcBef>
              <a:spcAft>
                <a:spcPts val="0"/>
              </a:spcAft>
              <a:buSzPts val="2000"/>
              <a:buChar char="▹"/>
              <a:defRPr/>
            </a:lvl4pPr>
            <a:lvl5pPr marL="3047924" lvl="4" indent="-474121">
              <a:spcBef>
                <a:spcPts val="800"/>
              </a:spcBef>
              <a:spcAft>
                <a:spcPts val="0"/>
              </a:spcAft>
              <a:buSzPts val="2000"/>
              <a:buChar char="▹"/>
              <a:defRPr/>
            </a:lvl5pPr>
            <a:lvl6pPr marL="3657509" lvl="5" indent="-474121">
              <a:spcBef>
                <a:spcPts val="800"/>
              </a:spcBef>
              <a:spcAft>
                <a:spcPts val="0"/>
              </a:spcAft>
              <a:buSzPts val="2000"/>
              <a:buChar char="▹"/>
              <a:defRPr/>
            </a:lvl6pPr>
            <a:lvl7pPr marL="4267093" lvl="6" indent="-474121">
              <a:spcBef>
                <a:spcPts val="800"/>
              </a:spcBef>
              <a:spcAft>
                <a:spcPts val="0"/>
              </a:spcAft>
              <a:buSzPts val="2000"/>
              <a:buChar char="▹"/>
              <a:defRPr/>
            </a:lvl7pPr>
            <a:lvl8pPr marL="4876678" lvl="7" indent="-474121">
              <a:spcBef>
                <a:spcPts val="800"/>
              </a:spcBef>
              <a:spcAft>
                <a:spcPts val="0"/>
              </a:spcAft>
              <a:buSzPts val="2000"/>
              <a:buChar char="▹"/>
              <a:defRPr/>
            </a:lvl8pPr>
            <a:lvl9pPr marL="5486263" lvl="8" indent="-474121">
              <a:spcBef>
                <a:spcPts val="800"/>
              </a:spcBef>
              <a:spcAft>
                <a:spcPts val="0"/>
              </a:spcAft>
              <a:buSzPts val="2000"/>
              <a:buChar char="▹"/>
              <a:defRPr/>
            </a:lvl9pPr>
          </a:lstStyle>
          <a:p>
            <a:endParaRPr/>
          </a:p>
        </p:txBody>
      </p:sp>
      <p:sp>
        <p:nvSpPr>
          <p:cNvPr id="27" name="Google Shape;27;p5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228092224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2 columns" type="twoColTx">
  <p:cSld name="Title + 2 columns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6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30" name="Google Shape;30;p6"/>
          <p:cNvSpPr/>
          <p:nvPr/>
        </p:nvSpPr>
        <p:spPr>
          <a:xfrm rot="5400000">
            <a:off x="-133800" y="965980"/>
            <a:ext cx="624800" cy="3572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31" name="Google Shape;31;p6"/>
          <p:cNvSpPr txBox="1">
            <a:spLocks noGrp="1"/>
          </p:cNvSpPr>
          <p:nvPr>
            <p:ph type="title"/>
          </p:nvPr>
        </p:nvSpPr>
        <p:spPr>
          <a:xfrm>
            <a:off x="609600" y="807467"/>
            <a:ext cx="7521200" cy="1443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endParaRPr/>
          </a:p>
        </p:txBody>
      </p:sp>
      <p:sp>
        <p:nvSpPr>
          <p:cNvPr id="32" name="Google Shape;32;p6"/>
          <p:cNvSpPr txBox="1">
            <a:spLocks noGrp="1"/>
          </p:cNvSpPr>
          <p:nvPr>
            <p:ph type="body" idx="1"/>
          </p:nvPr>
        </p:nvSpPr>
        <p:spPr>
          <a:xfrm>
            <a:off x="609600" y="2661000"/>
            <a:ext cx="3576800" cy="3572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57189">
              <a:spcBef>
                <a:spcPts val="800"/>
              </a:spcBef>
              <a:spcAft>
                <a:spcPts val="0"/>
              </a:spcAft>
              <a:buSzPts val="1800"/>
              <a:buChar char="▸"/>
              <a:defRPr sz="2400"/>
            </a:lvl1pPr>
            <a:lvl2pPr marL="1219170" lvl="1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2pPr>
            <a:lvl3pPr marL="1828754" lvl="2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3pPr>
            <a:lvl4pPr marL="2438339" lvl="3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4pPr>
            <a:lvl5pPr marL="3047924" lvl="4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5pPr>
            <a:lvl6pPr marL="3657509" lvl="5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6pPr>
            <a:lvl7pPr marL="4267093" lvl="6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7pPr>
            <a:lvl8pPr marL="4876678" lvl="7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8pPr>
            <a:lvl9pPr marL="5486263" lvl="8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9pPr>
          </a:lstStyle>
          <a:p>
            <a:endParaRPr/>
          </a:p>
        </p:txBody>
      </p:sp>
      <p:sp>
        <p:nvSpPr>
          <p:cNvPr id="33" name="Google Shape;33;p6"/>
          <p:cNvSpPr txBox="1">
            <a:spLocks noGrp="1"/>
          </p:cNvSpPr>
          <p:nvPr>
            <p:ph type="body" idx="2"/>
          </p:nvPr>
        </p:nvSpPr>
        <p:spPr>
          <a:xfrm>
            <a:off x="4554104" y="2661000"/>
            <a:ext cx="3576800" cy="3572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57189">
              <a:spcBef>
                <a:spcPts val="800"/>
              </a:spcBef>
              <a:spcAft>
                <a:spcPts val="0"/>
              </a:spcAft>
              <a:buSzPts val="1800"/>
              <a:buChar char="▸"/>
              <a:defRPr sz="2400"/>
            </a:lvl1pPr>
            <a:lvl2pPr marL="1219170" lvl="1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2pPr>
            <a:lvl3pPr marL="1828754" lvl="2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3pPr>
            <a:lvl4pPr marL="2438339" lvl="3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4pPr>
            <a:lvl5pPr marL="3047924" lvl="4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5pPr>
            <a:lvl6pPr marL="3657509" lvl="5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6pPr>
            <a:lvl7pPr marL="4267093" lvl="6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7pPr>
            <a:lvl8pPr marL="4876678" lvl="7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8pPr>
            <a:lvl9pPr marL="5486263" lvl="8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9pPr>
          </a:lstStyle>
          <a:p>
            <a:endParaRPr/>
          </a:p>
        </p:txBody>
      </p:sp>
      <p:sp>
        <p:nvSpPr>
          <p:cNvPr id="34" name="Google Shape;34;p6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55493842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3 columns">
  <p:cSld name="Title + 3 columns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7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37" name="Google Shape;37;p7"/>
          <p:cNvSpPr/>
          <p:nvPr/>
        </p:nvSpPr>
        <p:spPr>
          <a:xfrm rot="5400000">
            <a:off x="-133800" y="965980"/>
            <a:ext cx="624800" cy="3572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38" name="Google Shape;38;p7"/>
          <p:cNvSpPr txBox="1">
            <a:spLocks noGrp="1"/>
          </p:cNvSpPr>
          <p:nvPr>
            <p:ph type="title"/>
          </p:nvPr>
        </p:nvSpPr>
        <p:spPr>
          <a:xfrm>
            <a:off x="609600" y="807467"/>
            <a:ext cx="7521200" cy="1443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endParaRPr/>
          </a:p>
        </p:txBody>
      </p:sp>
      <p:sp>
        <p:nvSpPr>
          <p:cNvPr id="39" name="Google Shape;39;p7"/>
          <p:cNvSpPr txBox="1">
            <a:spLocks noGrp="1"/>
          </p:cNvSpPr>
          <p:nvPr>
            <p:ph type="body" idx="1"/>
          </p:nvPr>
        </p:nvSpPr>
        <p:spPr>
          <a:xfrm>
            <a:off x="609600" y="2661000"/>
            <a:ext cx="3418000" cy="3572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40256" rtl="0">
              <a:spcBef>
                <a:spcPts val="800"/>
              </a:spcBef>
              <a:spcAft>
                <a:spcPts val="0"/>
              </a:spcAft>
              <a:buSzPts val="1600"/>
              <a:buChar char="▸"/>
              <a:defRPr sz="2133"/>
            </a:lvl1pPr>
            <a:lvl2pPr marL="1219170" lvl="1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2pPr>
            <a:lvl3pPr marL="1828754" lvl="2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3pPr>
            <a:lvl4pPr marL="2438339" lvl="3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4pPr>
            <a:lvl5pPr marL="3047924" lvl="4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5pPr>
            <a:lvl6pPr marL="3657509" lvl="5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6pPr>
            <a:lvl7pPr marL="4267093" lvl="6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7pPr>
            <a:lvl8pPr marL="4876678" lvl="7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8pPr>
            <a:lvl9pPr marL="5486263" lvl="8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9pPr>
          </a:lstStyle>
          <a:p>
            <a:endParaRPr/>
          </a:p>
        </p:txBody>
      </p:sp>
      <p:sp>
        <p:nvSpPr>
          <p:cNvPr id="40" name="Google Shape;40;p7"/>
          <p:cNvSpPr txBox="1">
            <a:spLocks noGrp="1"/>
          </p:cNvSpPr>
          <p:nvPr>
            <p:ph type="body" idx="2"/>
          </p:nvPr>
        </p:nvSpPr>
        <p:spPr>
          <a:xfrm>
            <a:off x="4387000" y="2661000"/>
            <a:ext cx="3418000" cy="3572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40256" rtl="0">
              <a:spcBef>
                <a:spcPts val="800"/>
              </a:spcBef>
              <a:spcAft>
                <a:spcPts val="0"/>
              </a:spcAft>
              <a:buSzPts val="1600"/>
              <a:buChar char="▸"/>
              <a:defRPr sz="2133"/>
            </a:lvl1pPr>
            <a:lvl2pPr marL="1219170" lvl="1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2pPr>
            <a:lvl3pPr marL="1828754" lvl="2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3pPr>
            <a:lvl4pPr marL="2438339" lvl="3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4pPr>
            <a:lvl5pPr marL="3047924" lvl="4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5pPr>
            <a:lvl6pPr marL="3657509" lvl="5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6pPr>
            <a:lvl7pPr marL="4267093" lvl="6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7pPr>
            <a:lvl8pPr marL="4876678" lvl="7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8pPr>
            <a:lvl9pPr marL="5486263" lvl="8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9pPr>
          </a:lstStyle>
          <a:p>
            <a:endParaRPr/>
          </a:p>
        </p:txBody>
      </p:sp>
      <p:sp>
        <p:nvSpPr>
          <p:cNvPr id="41" name="Google Shape;41;p7"/>
          <p:cNvSpPr txBox="1">
            <a:spLocks noGrp="1"/>
          </p:cNvSpPr>
          <p:nvPr>
            <p:ph type="body" idx="3"/>
          </p:nvPr>
        </p:nvSpPr>
        <p:spPr>
          <a:xfrm>
            <a:off x="8164400" y="2661000"/>
            <a:ext cx="3418000" cy="3572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40256" rtl="0">
              <a:spcBef>
                <a:spcPts val="800"/>
              </a:spcBef>
              <a:spcAft>
                <a:spcPts val="0"/>
              </a:spcAft>
              <a:buSzPts val="1600"/>
              <a:buChar char="▸"/>
              <a:defRPr sz="2133"/>
            </a:lvl1pPr>
            <a:lvl2pPr marL="1219170" lvl="1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2pPr>
            <a:lvl3pPr marL="1828754" lvl="2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3pPr>
            <a:lvl4pPr marL="2438339" lvl="3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4pPr>
            <a:lvl5pPr marL="3047924" lvl="4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5pPr>
            <a:lvl6pPr marL="3657509" lvl="5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6pPr>
            <a:lvl7pPr marL="4267093" lvl="6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7pPr>
            <a:lvl8pPr marL="4876678" lvl="7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8pPr>
            <a:lvl9pPr marL="5486263" lvl="8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9pPr>
          </a:lstStyle>
          <a:p>
            <a:endParaRPr/>
          </a:p>
        </p:txBody>
      </p:sp>
      <p:sp>
        <p:nvSpPr>
          <p:cNvPr id="42" name="Google Shape;42;p7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56990167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Google Shape;44;p8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45" name="Google Shape;45;p8"/>
          <p:cNvSpPr/>
          <p:nvPr/>
        </p:nvSpPr>
        <p:spPr>
          <a:xfrm rot="5400000">
            <a:off x="-133800" y="965980"/>
            <a:ext cx="624800" cy="3572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46" name="Google Shape;46;p8"/>
          <p:cNvSpPr txBox="1">
            <a:spLocks noGrp="1"/>
          </p:cNvSpPr>
          <p:nvPr>
            <p:ph type="title"/>
          </p:nvPr>
        </p:nvSpPr>
        <p:spPr>
          <a:xfrm>
            <a:off x="609600" y="807467"/>
            <a:ext cx="7521200" cy="1443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endParaRPr/>
          </a:p>
        </p:txBody>
      </p:sp>
      <p:sp>
        <p:nvSpPr>
          <p:cNvPr id="47" name="Google Shape;47;p8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2371556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ubtitle">
  <p:cSld name="Subtitle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Google Shape;13;p3"/>
          <p:cNvSpPr txBox="1">
            <a:spLocks noGrp="1"/>
          </p:cNvSpPr>
          <p:nvPr>
            <p:ph type="ctrTitle"/>
          </p:nvPr>
        </p:nvSpPr>
        <p:spPr>
          <a:xfrm>
            <a:off x="1447800" y="2708033"/>
            <a:ext cx="6235600" cy="15464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1pPr>
            <a:lvl2pPr lvl="1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2pPr>
            <a:lvl3pPr lvl="2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3pPr>
            <a:lvl4pPr lvl="3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4pPr>
            <a:lvl5pPr lvl="4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5pPr>
            <a:lvl6pPr lvl="5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6pPr>
            <a:lvl7pPr lvl="6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7pPr>
            <a:lvl8pPr lvl="7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8pPr>
            <a:lvl9pPr lvl="8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4" name="Google Shape;14;p3"/>
          <p:cNvSpPr txBox="1">
            <a:spLocks noGrp="1"/>
          </p:cNvSpPr>
          <p:nvPr>
            <p:ph type="subTitle" idx="1"/>
          </p:nvPr>
        </p:nvSpPr>
        <p:spPr>
          <a:xfrm>
            <a:off x="1447800" y="4383635"/>
            <a:ext cx="6235600" cy="511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>
                <a:solidFill>
                  <a:schemeClr val="dk2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4000">
                <a:solidFill>
                  <a:schemeClr val="dk2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5" name="Google Shape;15;p3"/>
          <p:cNvSpPr/>
          <p:nvPr/>
        </p:nvSpPr>
        <p:spPr>
          <a:xfrm rot="5400000">
            <a:off x="-404500" y="2889207"/>
            <a:ext cx="1888400" cy="10796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</p:spTree>
    <p:extLst>
      <p:ext uri="{BB962C8B-B14F-4D97-AF65-F5344CB8AC3E}">
        <p14:creationId xmlns:p14="http://schemas.microsoft.com/office/powerpoint/2010/main" val="54241392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9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50" name="Google Shape;50;p9"/>
          <p:cNvSpPr/>
          <p:nvPr/>
        </p:nvSpPr>
        <p:spPr>
          <a:xfrm rot="5400000">
            <a:off x="-133800" y="5931680"/>
            <a:ext cx="624800" cy="3572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51" name="Google Shape;51;p9"/>
          <p:cNvSpPr txBox="1">
            <a:spLocks noGrp="1"/>
          </p:cNvSpPr>
          <p:nvPr>
            <p:ph type="body" idx="1"/>
          </p:nvPr>
        </p:nvSpPr>
        <p:spPr>
          <a:xfrm>
            <a:off x="609600" y="5875079"/>
            <a:ext cx="10972800" cy="6928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304792">
              <a:spcBef>
                <a:spcPts val="480"/>
              </a:spcBef>
              <a:spcAft>
                <a:spcPts val="0"/>
              </a:spcAft>
              <a:buSzPts val="1800"/>
              <a:buNone/>
              <a:defRPr sz="2400"/>
            </a:lvl1pPr>
          </a:lstStyle>
          <a:p>
            <a:endParaRPr/>
          </a:p>
        </p:txBody>
      </p:sp>
      <p:sp>
        <p:nvSpPr>
          <p:cNvPr id="52" name="Google Shape;52;p9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15967444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Google Shape;54;p10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55" name="Google Shape;55;p10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31048955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dark">
  <p:cSld name="Blank dark">
    <p:bg>
      <p:bgPr>
        <a:gradFill>
          <a:gsLst>
            <a:gs pos="0">
              <a:schemeClr val="accent1"/>
            </a:gs>
            <a:gs pos="50000">
              <a:schemeClr val="accent1"/>
            </a:gs>
            <a:gs pos="100000">
              <a:schemeClr val="accent2"/>
            </a:gs>
          </a:gsLst>
          <a:lin ang="16200038" scaled="0"/>
        </a:gradFill>
        <a:effectLst/>
      </p:bgPr>
    </p:bg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p11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58" name="Google Shape;58;p11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 rtl="0">
              <a:buNone/>
              <a:defRPr>
                <a:solidFill>
                  <a:schemeClr val="accent2"/>
                </a:solidFill>
              </a:defRPr>
            </a:lvl1pPr>
            <a:lvl2pPr lvl="1" rtl="0">
              <a:buNone/>
              <a:defRPr>
                <a:solidFill>
                  <a:schemeClr val="accent2"/>
                </a:solidFill>
              </a:defRPr>
            </a:lvl2pPr>
            <a:lvl3pPr lvl="2" rtl="0">
              <a:buNone/>
              <a:defRPr>
                <a:solidFill>
                  <a:schemeClr val="accent2"/>
                </a:solidFill>
              </a:defRPr>
            </a:lvl3pPr>
            <a:lvl4pPr lvl="3" rtl="0">
              <a:buNone/>
              <a:defRPr>
                <a:solidFill>
                  <a:schemeClr val="accent2"/>
                </a:solidFill>
              </a:defRPr>
            </a:lvl4pPr>
            <a:lvl5pPr lvl="4" rtl="0">
              <a:buNone/>
              <a:defRPr>
                <a:solidFill>
                  <a:schemeClr val="accent2"/>
                </a:solidFill>
              </a:defRPr>
            </a:lvl5pPr>
            <a:lvl6pPr lvl="5" rtl="0">
              <a:buNone/>
              <a:defRPr>
                <a:solidFill>
                  <a:schemeClr val="accent2"/>
                </a:solidFill>
              </a:defRPr>
            </a:lvl6pPr>
            <a:lvl7pPr lvl="6" rtl="0">
              <a:buNone/>
              <a:defRPr>
                <a:solidFill>
                  <a:schemeClr val="accent2"/>
                </a:solidFill>
              </a:defRPr>
            </a:lvl7pPr>
            <a:lvl8pPr lvl="7" rtl="0">
              <a:buNone/>
              <a:defRPr>
                <a:solidFill>
                  <a:schemeClr val="accent2"/>
                </a:solidFill>
              </a:defRPr>
            </a:lvl8pPr>
            <a:lvl9pPr lvl="8" rtl="0">
              <a:buNone/>
              <a:defRPr>
                <a:solidFill>
                  <a:schemeClr val="accent2"/>
                </a:solidFill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6437465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">
  <p:cSld name="Quote">
    <p:bg>
      <p:bgPr>
        <a:gradFill>
          <a:gsLst>
            <a:gs pos="0">
              <a:schemeClr val="accent1"/>
            </a:gs>
            <a:gs pos="50000">
              <a:schemeClr val="accent1"/>
            </a:gs>
            <a:gs pos="100000">
              <a:schemeClr val="accent2"/>
            </a:gs>
          </a:gsLst>
          <a:lin ang="16200038" scaled="0"/>
        </a:gradFill>
        <a:effectLst/>
      </p:bgPr>
    </p:bg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8" name="Google Shape;18;p4"/>
          <p:cNvSpPr/>
          <p:nvPr/>
        </p:nvSpPr>
        <p:spPr>
          <a:xfrm rot="5400000">
            <a:off x="-404500" y="1236540"/>
            <a:ext cx="1888400" cy="1079600"/>
          </a:xfrm>
          <a:prstGeom prst="triangle">
            <a:avLst>
              <a:gd name="adj" fmla="val 50000"/>
            </a:avLst>
          </a:pr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9" name="Google Shape;19;p4"/>
          <p:cNvSpPr txBox="1">
            <a:spLocks noGrp="1"/>
          </p:cNvSpPr>
          <p:nvPr>
            <p:ph type="body" idx="1"/>
          </p:nvPr>
        </p:nvSpPr>
        <p:spPr>
          <a:xfrm>
            <a:off x="1385400" y="1371100"/>
            <a:ext cx="6323600" cy="47732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▸"/>
              <a:defRPr sz="4267">
                <a:solidFill>
                  <a:schemeClr val="lt1"/>
                </a:solidFill>
              </a:defRPr>
            </a:lvl1pPr>
            <a:lvl2pPr marL="1219170" lvl="1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2pPr>
            <a:lvl3pPr marL="1828754" lvl="2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3pPr>
            <a:lvl4pPr marL="2438339" lvl="3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4pPr>
            <a:lvl5pPr marL="3047924" lvl="4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5pPr>
            <a:lvl6pPr marL="3657509" lvl="5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6pPr>
            <a:lvl7pPr marL="4267093" lvl="6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7pPr>
            <a:lvl8pPr marL="4876678" lvl="7" indent="-575719" rtl="0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8pPr>
            <a:lvl9pPr marL="5486263" lvl="8" indent="-575719"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4267">
                <a:solidFill>
                  <a:schemeClr val="l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Google Shape;20;p4"/>
          <p:cNvSpPr txBox="1"/>
          <p:nvPr/>
        </p:nvSpPr>
        <p:spPr>
          <a:xfrm>
            <a:off x="25400" y="1245033"/>
            <a:ext cx="708000" cy="87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1466" b="1">
                <a:solidFill>
                  <a:schemeClr val="accent2"/>
                </a:solidFill>
                <a:latin typeface="Raleway"/>
                <a:ea typeface="Raleway"/>
                <a:cs typeface="Raleway"/>
                <a:sym typeface="Raleway"/>
              </a:rPr>
              <a:t>“</a:t>
            </a:r>
            <a:endParaRPr sz="11466" b="1">
              <a:solidFill>
                <a:schemeClr val="accent2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21" name="Google Shape;21;p4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>
                <a:solidFill>
                  <a:schemeClr val="accent2"/>
                </a:solidFill>
              </a:defRPr>
            </a:lvl1pPr>
            <a:lvl2pPr lvl="1">
              <a:buNone/>
              <a:defRPr>
                <a:solidFill>
                  <a:schemeClr val="accent2"/>
                </a:solidFill>
              </a:defRPr>
            </a:lvl2pPr>
            <a:lvl3pPr lvl="2">
              <a:buNone/>
              <a:defRPr>
                <a:solidFill>
                  <a:schemeClr val="accent2"/>
                </a:solidFill>
              </a:defRPr>
            </a:lvl3pPr>
            <a:lvl4pPr lvl="3">
              <a:buNone/>
              <a:defRPr>
                <a:solidFill>
                  <a:schemeClr val="accent2"/>
                </a:solidFill>
              </a:defRPr>
            </a:lvl4pPr>
            <a:lvl5pPr lvl="4">
              <a:buNone/>
              <a:defRPr>
                <a:solidFill>
                  <a:schemeClr val="accent2"/>
                </a:solidFill>
              </a:defRPr>
            </a:lvl5pPr>
            <a:lvl6pPr lvl="5">
              <a:buNone/>
              <a:defRPr>
                <a:solidFill>
                  <a:schemeClr val="accent2"/>
                </a:solidFill>
              </a:defRPr>
            </a:lvl6pPr>
            <a:lvl7pPr lvl="6">
              <a:buNone/>
              <a:defRPr>
                <a:solidFill>
                  <a:schemeClr val="accent2"/>
                </a:solidFill>
              </a:defRPr>
            </a:lvl7pPr>
            <a:lvl8pPr lvl="7">
              <a:buNone/>
              <a:defRPr>
                <a:solidFill>
                  <a:schemeClr val="accent2"/>
                </a:solidFill>
              </a:defRPr>
            </a:lvl8pPr>
            <a:lvl9pPr lvl="8">
              <a:buNone/>
              <a:defRPr>
                <a:solidFill>
                  <a:schemeClr val="accent2"/>
                </a:solidFill>
              </a:defRPr>
            </a:lvl9pPr>
          </a:lstStyle>
          <a:p>
            <a:fld id="{543D5730-5A8B-4621-86A5-6D310D84EA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75877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1 column" type="tx">
  <p:cSld name="Title + 1 column"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Google Shape;23;p5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4" name="Google Shape;24;p5"/>
          <p:cNvSpPr/>
          <p:nvPr/>
        </p:nvSpPr>
        <p:spPr>
          <a:xfrm rot="5400000">
            <a:off x="-133800" y="965980"/>
            <a:ext cx="624800" cy="3572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5" name="Google Shape;25;p5"/>
          <p:cNvSpPr txBox="1">
            <a:spLocks noGrp="1"/>
          </p:cNvSpPr>
          <p:nvPr>
            <p:ph type="title"/>
          </p:nvPr>
        </p:nvSpPr>
        <p:spPr>
          <a:xfrm>
            <a:off x="609600" y="807467"/>
            <a:ext cx="7521200" cy="1443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26" name="Google Shape;26;p5"/>
          <p:cNvSpPr txBox="1">
            <a:spLocks noGrp="1"/>
          </p:cNvSpPr>
          <p:nvPr>
            <p:ph type="body" idx="1"/>
          </p:nvPr>
        </p:nvSpPr>
        <p:spPr>
          <a:xfrm>
            <a:off x="609600" y="2661000"/>
            <a:ext cx="7521200" cy="35212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57189">
              <a:spcBef>
                <a:spcPts val="800"/>
              </a:spcBef>
              <a:spcAft>
                <a:spcPts val="0"/>
              </a:spcAft>
              <a:buSzPts val="1800"/>
              <a:buChar char="▸"/>
              <a:defRPr/>
            </a:lvl1pPr>
            <a:lvl2pPr marL="1219170" lvl="1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/>
            </a:lvl2pPr>
            <a:lvl3pPr marL="1828754" lvl="2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/>
            </a:lvl3pPr>
            <a:lvl4pPr marL="2438339" lvl="3" indent="-474121">
              <a:spcBef>
                <a:spcPts val="800"/>
              </a:spcBef>
              <a:spcAft>
                <a:spcPts val="0"/>
              </a:spcAft>
              <a:buSzPts val="2000"/>
              <a:buChar char="▹"/>
              <a:defRPr/>
            </a:lvl4pPr>
            <a:lvl5pPr marL="3047924" lvl="4" indent="-474121">
              <a:spcBef>
                <a:spcPts val="800"/>
              </a:spcBef>
              <a:spcAft>
                <a:spcPts val="0"/>
              </a:spcAft>
              <a:buSzPts val="2000"/>
              <a:buChar char="▹"/>
              <a:defRPr/>
            </a:lvl5pPr>
            <a:lvl6pPr marL="3657509" lvl="5" indent="-474121">
              <a:spcBef>
                <a:spcPts val="800"/>
              </a:spcBef>
              <a:spcAft>
                <a:spcPts val="0"/>
              </a:spcAft>
              <a:buSzPts val="2000"/>
              <a:buChar char="▹"/>
              <a:defRPr/>
            </a:lvl6pPr>
            <a:lvl7pPr marL="4267093" lvl="6" indent="-474121">
              <a:spcBef>
                <a:spcPts val="800"/>
              </a:spcBef>
              <a:spcAft>
                <a:spcPts val="0"/>
              </a:spcAft>
              <a:buSzPts val="2000"/>
              <a:buChar char="▹"/>
              <a:defRPr/>
            </a:lvl7pPr>
            <a:lvl8pPr marL="4876678" lvl="7" indent="-474121">
              <a:spcBef>
                <a:spcPts val="800"/>
              </a:spcBef>
              <a:spcAft>
                <a:spcPts val="0"/>
              </a:spcAft>
              <a:buSzPts val="2000"/>
              <a:buChar char="▹"/>
              <a:defRPr/>
            </a:lvl8pPr>
            <a:lvl9pPr marL="5486263" lvl="8" indent="-474121">
              <a:spcBef>
                <a:spcPts val="800"/>
              </a:spcBef>
              <a:spcAft>
                <a:spcPts val="0"/>
              </a:spcAft>
              <a:buSzPts val="2000"/>
              <a:buChar char="▹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Google Shape;27;p5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543D5730-5A8B-4621-86A5-6D310D84EA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28668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2 columns" type="twoColTx">
  <p:cSld name="Title + 2 columns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6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0" name="Google Shape;30;p6"/>
          <p:cNvSpPr/>
          <p:nvPr/>
        </p:nvSpPr>
        <p:spPr>
          <a:xfrm rot="5400000">
            <a:off x="-133800" y="965980"/>
            <a:ext cx="624800" cy="3572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1" name="Google Shape;31;p6"/>
          <p:cNvSpPr txBox="1">
            <a:spLocks noGrp="1"/>
          </p:cNvSpPr>
          <p:nvPr>
            <p:ph type="title"/>
          </p:nvPr>
        </p:nvSpPr>
        <p:spPr>
          <a:xfrm>
            <a:off x="609600" y="807467"/>
            <a:ext cx="7521200" cy="1443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2" name="Google Shape;32;p6"/>
          <p:cNvSpPr txBox="1">
            <a:spLocks noGrp="1"/>
          </p:cNvSpPr>
          <p:nvPr>
            <p:ph type="body" idx="1"/>
          </p:nvPr>
        </p:nvSpPr>
        <p:spPr>
          <a:xfrm>
            <a:off x="609600" y="2661000"/>
            <a:ext cx="3576800" cy="3572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57189">
              <a:spcBef>
                <a:spcPts val="800"/>
              </a:spcBef>
              <a:spcAft>
                <a:spcPts val="0"/>
              </a:spcAft>
              <a:buSzPts val="1800"/>
              <a:buChar char="▸"/>
              <a:defRPr sz="2400"/>
            </a:lvl1pPr>
            <a:lvl2pPr marL="1219170" lvl="1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2pPr>
            <a:lvl3pPr marL="1828754" lvl="2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3pPr>
            <a:lvl4pPr marL="2438339" lvl="3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4pPr>
            <a:lvl5pPr marL="3047924" lvl="4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5pPr>
            <a:lvl6pPr marL="3657509" lvl="5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6pPr>
            <a:lvl7pPr marL="4267093" lvl="6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7pPr>
            <a:lvl8pPr marL="4876678" lvl="7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8pPr>
            <a:lvl9pPr marL="5486263" lvl="8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Google Shape;33;p6"/>
          <p:cNvSpPr txBox="1">
            <a:spLocks noGrp="1"/>
          </p:cNvSpPr>
          <p:nvPr>
            <p:ph type="body" idx="2"/>
          </p:nvPr>
        </p:nvSpPr>
        <p:spPr>
          <a:xfrm>
            <a:off x="4554104" y="2661000"/>
            <a:ext cx="3576800" cy="3572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57189">
              <a:spcBef>
                <a:spcPts val="800"/>
              </a:spcBef>
              <a:spcAft>
                <a:spcPts val="0"/>
              </a:spcAft>
              <a:buSzPts val="1800"/>
              <a:buChar char="▸"/>
              <a:defRPr sz="2400"/>
            </a:lvl1pPr>
            <a:lvl2pPr marL="1219170" lvl="1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2pPr>
            <a:lvl3pPr marL="1828754" lvl="2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3pPr>
            <a:lvl4pPr marL="2438339" lvl="3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4pPr>
            <a:lvl5pPr marL="3047924" lvl="4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5pPr>
            <a:lvl6pPr marL="3657509" lvl="5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6pPr>
            <a:lvl7pPr marL="4267093" lvl="6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7pPr>
            <a:lvl8pPr marL="4876678" lvl="7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8pPr>
            <a:lvl9pPr marL="5486263" lvl="8" indent="-457189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Google Shape;34;p6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543D5730-5A8B-4621-86A5-6D310D84EA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5659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3 columns">
  <p:cSld name="Title + 3 columns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7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7" name="Google Shape;37;p7"/>
          <p:cNvSpPr/>
          <p:nvPr/>
        </p:nvSpPr>
        <p:spPr>
          <a:xfrm rot="5400000">
            <a:off x="-133800" y="965980"/>
            <a:ext cx="624800" cy="3572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8" name="Google Shape;38;p7"/>
          <p:cNvSpPr txBox="1">
            <a:spLocks noGrp="1"/>
          </p:cNvSpPr>
          <p:nvPr>
            <p:ph type="title"/>
          </p:nvPr>
        </p:nvSpPr>
        <p:spPr>
          <a:xfrm>
            <a:off x="609600" y="807467"/>
            <a:ext cx="7521200" cy="1443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9" name="Google Shape;39;p7"/>
          <p:cNvSpPr txBox="1">
            <a:spLocks noGrp="1"/>
          </p:cNvSpPr>
          <p:nvPr>
            <p:ph type="body" idx="1"/>
          </p:nvPr>
        </p:nvSpPr>
        <p:spPr>
          <a:xfrm>
            <a:off x="609600" y="2661000"/>
            <a:ext cx="3418000" cy="3572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40256" rtl="0">
              <a:spcBef>
                <a:spcPts val="800"/>
              </a:spcBef>
              <a:spcAft>
                <a:spcPts val="0"/>
              </a:spcAft>
              <a:buSzPts val="1600"/>
              <a:buChar char="▸"/>
              <a:defRPr sz="2133"/>
            </a:lvl1pPr>
            <a:lvl2pPr marL="1219170" lvl="1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2pPr>
            <a:lvl3pPr marL="1828754" lvl="2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3pPr>
            <a:lvl4pPr marL="2438339" lvl="3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4pPr>
            <a:lvl5pPr marL="3047924" lvl="4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5pPr>
            <a:lvl6pPr marL="3657509" lvl="5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6pPr>
            <a:lvl7pPr marL="4267093" lvl="6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7pPr>
            <a:lvl8pPr marL="4876678" lvl="7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8pPr>
            <a:lvl9pPr marL="5486263" lvl="8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Google Shape;40;p7"/>
          <p:cNvSpPr txBox="1">
            <a:spLocks noGrp="1"/>
          </p:cNvSpPr>
          <p:nvPr>
            <p:ph type="body" idx="2"/>
          </p:nvPr>
        </p:nvSpPr>
        <p:spPr>
          <a:xfrm>
            <a:off x="4387000" y="2661000"/>
            <a:ext cx="3418000" cy="3572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40256" rtl="0">
              <a:spcBef>
                <a:spcPts val="800"/>
              </a:spcBef>
              <a:spcAft>
                <a:spcPts val="0"/>
              </a:spcAft>
              <a:buSzPts val="1600"/>
              <a:buChar char="▸"/>
              <a:defRPr sz="2133"/>
            </a:lvl1pPr>
            <a:lvl2pPr marL="1219170" lvl="1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2pPr>
            <a:lvl3pPr marL="1828754" lvl="2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3pPr>
            <a:lvl4pPr marL="2438339" lvl="3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4pPr>
            <a:lvl5pPr marL="3047924" lvl="4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5pPr>
            <a:lvl6pPr marL="3657509" lvl="5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6pPr>
            <a:lvl7pPr marL="4267093" lvl="6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7pPr>
            <a:lvl8pPr marL="4876678" lvl="7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8pPr>
            <a:lvl9pPr marL="5486263" lvl="8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Google Shape;41;p7"/>
          <p:cNvSpPr txBox="1">
            <a:spLocks noGrp="1"/>
          </p:cNvSpPr>
          <p:nvPr>
            <p:ph type="body" idx="3"/>
          </p:nvPr>
        </p:nvSpPr>
        <p:spPr>
          <a:xfrm>
            <a:off x="8164400" y="2661000"/>
            <a:ext cx="3418000" cy="3572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40256" rtl="0">
              <a:spcBef>
                <a:spcPts val="800"/>
              </a:spcBef>
              <a:spcAft>
                <a:spcPts val="0"/>
              </a:spcAft>
              <a:buSzPts val="1600"/>
              <a:buChar char="▸"/>
              <a:defRPr sz="2133"/>
            </a:lvl1pPr>
            <a:lvl2pPr marL="1219170" lvl="1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2pPr>
            <a:lvl3pPr marL="1828754" lvl="2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3pPr>
            <a:lvl4pPr marL="2438339" lvl="3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4pPr>
            <a:lvl5pPr marL="3047924" lvl="4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5pPr>
            <a:lvl6pPr marL="3657509" lvl="5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6pPr>
            <a:lvl7pPr marL="4267093" lvl="6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7pPr>
            <a:lvl8pPr marL="4876678" lvl="7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8pPr>
            <a:lvl9pPr marL="5486263" lvl="8" indent="-440256" rtl="0">
              <a:spcBef>
                <a:spcPts val="800"/>
              </a:spcBef>
              <a:spcAft>
                <a:spcPts val="0"/>
              </a:spcAft>
              <a:buSzPts val="1600"/>
              <a:buChar char="▹"/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Google Shape;42;p7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543D5730-5A8B-4621-86A5-6D310D84EA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62983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Google Shape;44;p8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5" name="Google Shape;45;p8"/>
          <p:cNvSpPr/>
          <p:nvPr/>
        </p:nvSpPr>
        <p:spPr>
          <a:xfrm rot="5400000">
            <a:off x="-133800" y="965980"/>
            <a:ext cx="624800" cy="3572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6" name="Google Shape;46;p8"/>
          <p:cNvSpPr txBox="1">
            <a:spLocks noGrp="1"/>
          </p:cNvSpPr>
          <p:nvPr>
            <p:ph type="title"/>
          </p:nvPr>
        </p:nvSpPr>
        <p:spPr>
          <a:xfrm>
            <a:off x="609600" y="807467"/>
            <a:ext cx="7521200" cy="1443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7" name="Google Shape;47;p8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543D5730-5A8B-4621-86A5-6D310D84EA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19074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9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0" name="Google Shape;50;p9"/>
          <p:cNvSpPr/>
          <p:nvPr/>
        </p:nvSpPr>
        <p:spPr>
          <a:xfrm rot="5400000">
            <a:off x="-133800" y="5931680"/>
            <a:ext cx="624800" cy="3572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1" name="Google Shape;51;p9"/>
          <p:cNvSpPr txBox="1">
            <a:spLocks noGrp="1"/>
          </p:cNvSpPr>
          <p:nvPr>
            <p:ph type="body" idx="1"/>
          </p:nvPr>
        </p:nvSpPr>
        <p:spPr>
          <a:xfrm>
            <a:off x="609600" y="5875079"/>
            <a:ext cx="10972800" cy="6928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304792">
              <a:spcBef>
                <a:spcPts val="480"/>
              </a:spcBef>
              <a:spcAft>
                <a:spcPts val="0"/>
              </a:spcAft>
              <a:buSzPts val="1800"/>
              <a:buNone/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" name="Google Shape;52;p9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543D5730-5A8B-4621-86A5-6D310D84EA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642952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Google Shape;54;p10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5" name="Google Shape;55;p10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543D5730-5A8B-4621-86A5-6D310D84EA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06098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lt1"/>
            </a:gs>
            <a:gs pos="50000">
              <a:schemeClr val="lt1"/>
            </a:gs>
            <a:gs pos="100000">
              <a:schemeClr val="lt2"/>
            </a:gs>
          </a:gsLst>
          <a:lin ang="16200038" scaled="0"/>
        </a:gra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609600" y="807467"/>
            <a:ext cx="7521200" cy="144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lvl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lvl="2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lvl="3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lvl="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lvl="5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lvl="6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lvl="7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lvl="8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609600" y="2661000"/>
            <a:ext cx="7521200" cy="357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▸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914400" lvl="1" indent="-3429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1371600" lvl="2" indent="-3429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828800" lvl="3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2286000" lvl="4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743200" lvl="5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3200400" lvl="6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657600" lvl="7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4114800" lvl="8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lvl="1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lvl="2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lvl="3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lvl="4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lvl="5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lvl="6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lvl="7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lvl="8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fld id="{543D5730-5A8B-4621-86A5-6D310D84EA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8789783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ransition>
    <p:fade thruBlk="1"/>
  </p:transition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lt1"/>
            </a:gs>
            <a:gs pos="50000">
              <a:schemeClr val="lt1"/>
            </a:gs>
            <a:gs pos="100000">
              <a:schemeClr val="lt2"/>
            </a:gs>
          </a:gsLst>
          <a:lin ang="16200038" scaled="0"/>
        </a:gra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609600" y="807467"/>
            <a:ext cx="7521200" cy="144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lvl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lvl="2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lvl="3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lvl="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lvl="5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lvl="6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lvl="7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lvl="8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609600" y="2661000"/>
            <a:ext cx="7521200" cy="357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▸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914400" lvl="1" indent="-3429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1371600" lvl="2" indent="-3429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828800" lvl="3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2286000" lvl="4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743200" lvl="5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3200400" lvl="6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657600" lvl="7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4114800" lvl="8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lvl="1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lvl="2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lvl="3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lvl="4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lvl="5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lvl="6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lvl="7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lvl="8" algn="r">
              <a:buNone/>
              <a:defRPr sz="16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877100360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</p:sldLayoutIdLst>
  <p:transition>
    <p:fade thruBlk="1"/>
  </p:transition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5.xml"/><Relationship Id="rId1" Type="http://schemas.openxmlformats.org/officeDocument/2006/relationships/tags" Target="../tags/tag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7.xml"/><Relationship Id="rId1" Type="http://schemas.openxmlformats.org/officeDocument/2006/relationships/tags" Target="../tags/tag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slideLayout" Target="../slideLayouts/slideLayout11.xml"/><Relationship Id="rId5" Type="http://schemas.openxmlformats.org/officeDocument/2006/relationships/tags" Target="../tags/tag12.xml"/><Relationship Id="rId4" Type="http://schemas.openxmlformats.org/officeDocument/2006/relationships/tags" Target="../tags/tag1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gif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svg"/><Relationship Id="rId7" Type="http://schemas.openxmlformats.org/officeDocument/2006/relationships/image" Target="../media/image9.sv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8.png"/><Relationship Id="rId11" Type="http://schemas.openxmlformats.org/officeDocument/2006/relationships/image" Target="../media/image13.svg"/><Relationship Id="rId5" Type="http://schemas.openxmlformats.org/officeDocument/2006/relationships/image" Target="../media/image7.svg"/><Relationship Id="rId10" Type="http://schemas.openxmlformats.org/officeDocument/2006/relationships/image" Target="../media/image12.png"/><Relationship Id="rId4" Type="http://schemas.openxmlformats.org/officeDocument/2006/relationships/image" Target="../media/image6.png"/><Relationship Id="rId9" Type="http://schemas.openxmlformats.org/officeDocument/2006/relationships/image" Target="../media/image11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1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7.sv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.xml"/><Relationship Id="rId6" Type="http://schemas.openxmlformats.org/officeDocument/2006/relationships/image" Target="../media/image16.png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4" Type="http://schemas.openxmlformats.org/officeDocument/2006/relationships/image" Target="../media/image18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gif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" name="Google Shape;63;p12"/>
          <p:cNvGrpSpPr/>
          <p:nvPr/>
        </p:nvGrpSpPr>
        <p:grpSpPr>
          <a:xfrm>
            <a:off x="6829903" y="890669"/>
            <a:ext cx="5121524" cy="5191071"/>
            <a:chOff x="5122427" y="668001"/>
            <a:chExt cx="3841143" cy="3893303"/>
          </a:xfrm>
        </p:grpSpPr>
        <p:grpSp>
          <p:nvGrpSpPr>
            <p:cNvPr id="64" name="Google Shape;64;p12"/>
            <p:cNvGrpSpPr/>
            <p:nvPr/>
          </p:nvGrpSpPr>
          <p:grpSpPr>
            <a:xfrm>
              <a:off x="5144045" y="893590"/>
              <a:ext cx="2833667" cy="2964311"/>
              <a:chOff x="3860721" y="1330073"/>
              <a:chExt cx="3544299" cy="3707706"/>
            </a:xfrm>
          </p:grpSpPr>
          <p:sp>
            <p:nvSpPr>
              <p:cNvPr id="65" name="Google Shape;65;p12"/>
              <p:cNvSpPr/>
              <p:nvPr/>
            </p:nvSpPr>
            <p:spPr>
              <a:xfrm>
                <a:off x="5336000" y="1330073"/>
                <a:ext cx="2069020" cy="2805419"/>
              </a:xfrm>
              <a:custGeom>
                <a:avLst/>
                <a:gdLst/>
                <a:ahLst/>
                <a:cxnLst/>
                <a:rect l="l" t="t" r="r" b="b"/>
                <a:pathLst>
                  <a:path w="2069020" h="2805419" extrusionOk="0">
                    <a:moveTo>
                      <a:pt x="2019014" y="2799395"/>
                    </a:moveTo>
                    <a:lnTo>
                      <a:pt x="50006" y="1662586"/>
                    </a:lnTo>
                    <a:cubicBezTo>
                      <a:pt x="22384" y="1646680"/>
                      <a:pt x="0" y="1603912"/>
                      <a:pt x="0" y="1567336"/>
                    </a:cubicBezTo>
                    <a:lnTo>
                      <a:pt x="0" y="43908"/>
                    </a:lnTo>
                    <a:cubicBezTo>
                      <a:pt x="0" y="7141"/>
                      <a:pt x="22384" y="-9813"/>
                      <a:pt x="50006" y="5808"/>
                    </a:cubicBezTo>
                    <a:lnTo>
                      <a:pt x="2019014" y="1142998"/>
                    </a:lnTo>
                    <a:cubicBezTo>
                      <a:pt x="2046637" y="1158904"/>
                      <a:pt x="2069020" y="1201672"/>
                      <a:pt x="2069020" y="1238248"/>
                    </a:cubicBezTo>
                    <a:lnTo>
                      <a:pt x="2069020" y="2761295"/>
                    </a:lnTo>
                    <a:cubicBezTo>
                      <a:pt x="2069020" y="2798443"/>
                      <a:pt x="2046637" y="2815397"/>
                      <a:pt x="2019014" y="2799395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6" name="Google Shape;66;p12"/>
              <p:cNvSpPr/>
              <p:nvPr/>
            </p:nvSpPr>
            <p:spPr>
              <a:xfrm>
                <a:off x="7365110" y="4067936"/>
                <a:ext cx="21907" cy="77247"/>
              </a:xfrm>
              <a:custGeom>
                <a:avLst/>
                <a:gdLst/>
                <a:ahLst/>
                <a:cxnLst/>
                <a:rect l="l" t="t" r="r" b="b"/>
                <a:pathLst>
                  <a:path w="21907" h="77247" extrusionOk="0">
                    <a:moveTo>
                      <a:pt x="0" y="77248"/>
                    </a:moveTo>
                    <a:lnTo>
                      <a:pt x="21908" y="64675"/>
                    </a:lnTo>
                    <a:lnTo>
                      <a:pt x="12383" y="0"/>
                    </a:lnTo>
                    <a:lnTo>
                      <a:pt x="0" y="77248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7" name="Google Shape;67;p12"/>
              <p:cNvSpPr/>
              <p:nvPr/>
            </p:nvSpPr>
            <p:spPr>
              <a:xfrm>
                <a:off x="5332475" y="1333214"/>
                <a:ext cx="52292" cy="22389"/>
              </a:xfrm>
              <a:custGeom>
                <a:avLst/>
                <a:gdLst/>
                <a:ahLst/>
                <a:cxnLst/>
                <a:rect l="l" t="t" r="r" b="b"/>
                <a:pathLst>
                  <a:path w="52292" h="22389" extrusionOk="0">
                    <a:moveTo>
                      <a:pt x="0" y="12383"/>
                    </a:moveTo>
                    <a:lnTo>
                      <a:pt x="21431" y="0"/>
                    </a:lnTo>
                    <a:lnTo>
                      <a:pt x="52292" y="17621"/>
                    </a:lnTo>
                    <a:cubicBezTo>
                      <a:pt x="52292" y="17621"/>
                      <a:pt x="19431" y="22574"/>
                      <a:pt x="18669" y="22384"/>
                    </a:cubicBezTo>
                    <a:cubicBezTo>
                      <a:pt x="17907" y="22193"/>
                      <a:pt x="0" y="12383"/>
                      <a:pt x="0" y="12383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8" name="Google Shape;68;p12"/>
              <p:cNvSpPr/>
              <p:nvPr/>
            </p:nvSpPr>
            <p:spPr>
              <a:xfrm>
                <a:off x="5317902" y="1340537"/>
                <a:ext cx="2069115" cy="2805383"/>
              </a:xfrm>
              <a:custGeom>
                <a:avLst/>
                <a:gdLst/>
                <a:ahLst/>
                <a:cxnLst/>
                <a:rect l="l" t="t" r="r" b="b"/>
                <a:pathLst>
                  <a:path w="2069115" h="2805383" extrusionOk="0">
                    <a:moveTo>
                      <a:pt x="2019110" y="2799409"/>
                    </a:moveTo>
                    <a:lnTo>
                      <a:pt x="50006" y="1662600"/>
                    </a:lnTo>
                    <a:cubicBezTo>
                      <a:pt x="22384" y="1646598"/>
                      <a:pt x="0" y="1603831"/>
                      <a:pt x="0" y="1567350"/>
                    </a:cubicBezTo>
                    <a:lnTo>
                      <a:pt x="0" y="43921"/>
                    </a:lnTo>
                    <a:cubicBezTo>
                      <a:pt x="0" y="7060"/>
                      <a:pt x="22384" y="-9800"/>
                      <a:pt x="50006" y="5821"/>
                    </a:cubicBezTo>
                    <a:lnTo>
                      <a:pt x="2019110" y="1142916"/>
                    </a:lnTo>
                    <a:cubicBezTo>
                      <a:pt x="2046732" y="1158823"/>
                      <a:pt x="2069116" y="1201685"/>
                      <a:pt x="2069116" y="1238166"/>
                    </a:cubicBezTo>
                    <a:lnTo>
                      <a:pt x="2069116" y="2761595"/>
                    </a:lnTo>
                    <a:cubicBezTo>
                      <a:pt x="2069116" y="2798361"/>
                      <a:pt x="2046732" y="2815315"/>
                      <a:pt x="2019110" y="2799409"/>
                    </a:cubicBezTo>
                    <a:close/>
                  </a:path>
                </a:pathLst>
              </a:custGeom>
              <a:solidFill>
                <a:srgbClr val="E4E7F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9" name="Google Shape;69;p12"/>
              <p:cNvSpPr/>
              <p:nvPr/>
            </p:nvSpPr>
            <p:spPr>
              <a:xfrm>
                <a:off x="5314473" y="1342497"/>
                <a:ext cx="2069020" cy="2805423"/>
              </a:xfrm>
              <a:custGeom>
                <a:avLst/>
                <a:gdLst/>
                <a:ahLst/>
                <a:cxnLst/>
                <a:rect l="l" t="t" r="r" b="b"/>
                <a:pathLst>
                  <a:path w="2069020" h="2805423" extrusionOk="0">
                    <a:moveTo>
                      <a:pt x="2019014" y="2799449"/>
                    </a:moveTo>
                    <a:lnTo>
                      <a:pt x="50006" y="1662545"/>
                    </a:lnTo>
                    <a:cubicBezTo>
                      <a:pt x="22384" y="1646638"/>
                      <a:pt x="0" y="1603871"/>
                      <a:pt x="0" y="1567295"/>
                    </a:cubicBezTo>
                    <a:lnTo>
                      <a:pt x="0" y="43962"/>
                    </a:lnTo>
                    <a:cubicBezTo>
                      <a:pt x="0" y="7100"/>
                      <a:pt x="22384" y="-9855"/>
                      <a:pt x="50006" y="5862"/>
                    </a:cubicBezTo>
                    <a:lnTo>
                      <a:pt x="2019014" y="1142956"/>
                    </a:lnTo>
                    <a:cubicBezTo>
                      <a:pt x="2046637" y="1158863"/>
                      <a:pt x="2069021" y="1201630"/>
                      <a:pt x="2069021" y="1238206"/>
                    </a:cubicBezTo>
                    <a:lnTo>
                      <a:pt x="2069021" y="2761635"/>
                    </a:lnTo>
                    <a:cubicBezTo>
                      <a:pt x="2069021" y="2798401"/>
                      <a:pt x="2046637" y="2815356"/>
                      <a:pt x="2019014" y="2799449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0" name="Google Shape;70;p12"/>
              <p:cNvSpPr/>
              <p:nvPr/>
            </p:nvSpPr>
            <p:spPr>
              <a:xfrm>
                <a:off x="5339429" y="1375389"/>
                <a:ext cx="2018061" cy="2673878"/>
              </a:xfrm>
              <a:custGeom>
                <a:avLst/>
                <a:gdLst/>
                <a:ahLst/>
                <a:cxnLst/>
                <a:rect l="l" t="t" r="r" b="b"/>
                <a:pathLst>
                  <a:path w="2018061" h="2673878" extrusionOk="0">
                    <a:moveTo>
                      <a:pt x="2017014" y="2673878"/>
                    </a:moveTo>
                    <a:lnTo>
                      <a:pt x="0" y="1509352"/>
                    </a:lnTo>
                    <a:lnTo>
                      <a:pt x="1048" y="17165"/>
                    </a:lnTo>
                    <a:cubicBezTo>
                      <a:pt x="1048" y="1830"/>
                      <a:pt x="11811" y="-4361"/>
                      <a:pt x="25051" y="3259"/>
                    </a:cubicBezTo>
                    <a:lnTo>
                      <a:pt x="1994059" y="1140163"/>
                    </a:lnTo>
                    <a:cubicBezTo>
                      <a:pt x="2008213" y="1149354"/>
                      <a:pt x="2017138" y="1164747"/>
                      <a:pt x="2018062" y="118159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" name="Google Shape;71;p12"/>
              <p:cNvSpPr/>
              <p:nvPr/>
            </p:nvSpPr>
            <p:spPr>
              <a:xfrm>
                <a:off x="5339238" y="1374339"/>
                <a:ext cx="2018061" cy="2673785"/>
              </a:xfrm>
              <a:custGeom>
                <a:avLst/>
                <a:gdLst/>
                <a:ahLst/>
                <a:cxnLst/>
                <a:rect l="l" t="t" r="r" b="b"/>
                <a:pathLst>
                  <a:path w="2018061" h="2673785" extrusionOk="0">
                    <a:moveTo>
                      <a:pt x="2017014" y="2673785"/>
                    </a:moveTo>
                    <a:lnTo>
                      <a:pt x="0" y="1509354"/>
                    </a:lnTo>
                    <a:lnTo>
                      <a:pt x="1048" y="17072"/>
                    </a:lnTo>
                    <a:cubicBezTo>
                      <a:pt x="1048" y="1832"/>
                      <a:pt x="11811" y="-4359"/>
                      <a:pt x="25051" y="3261"/>
                    </a:cubicBezTo>
                    <a:lnTo>
                      <a:pt x="1994059" y="1140260"/>
                    </a:lnTo>
                    <a:cubicBezTo>
                      <a:pt x="2008232" y="1149481"/>
                      <a:pt x="2017147" y="1164911"/>
                      <a:pt x="2018062" y="118178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2" name="Google Shape;72;p12"/>
              <p:cNvSpPr/>
              <p:nvPr/>
            </p:nvSpPr>
            <p:spPr>
              <a:xfrm>
                <a:off x="3860721" y="3051171"/>
                <a:ext cx="3440851" cy="1986608"/>
              </a:xfrm>
              <a:custGeom>
                <a:avLst/>
                <a:gdLst/>
                <a:ahLst/>
                <a:cxnLst/>
                <a:rect l="l" t="t" r="r" b="b"/>
                <a:pathLst>
                  <a:path w="3440851" h="1986608" extrusionOk="0">
                    <a:moveTo>
                      <a:pt x="1987629" y="1975838"/>
                    </a:moveTo>
                    <a:lnTo>
                      <a:pt x="18621" y="838934"/>
                    </a:lnTo>
                    <a:cubicBezTo>
                      <a:pt x="-9002" y="823027"/>
                      <a:pt x="-5477" y="795214"/>
                      <a:pt x="26432" y="776736"/>
                    </a:cubicBezTo>
                    <a:lnTo>
                      <a:pt x="1345454" y="15212"/>
                    </a:lnTo>
                    <a:cubicBezTo>
                      <a:pt x="1377362" y="-3172"/>
                      <a:pt x="1425559" y="-5172"/>
                      <a:pt x="1453181" y="10735"/>
                    </a:cubicBezTo>
                    <a:lnTo>
                      <a:pt x="3422189" y="1147544"/>
                    </a:lnTo>
                    <a:cubicBezTo>
                      <a:pt x="3449812" y="1163546"/>
                      <a:pt x="3446383" y="1191359"/>
                      <a:pt x="3414474" y="1209742"/>
                    </a:cubicBezTo>
                    <a:lnTo>
                      <a:pt x="2095452" y="1971742"/>
                    </a:lnTo>
                    <a:cubicBezTo>
                      <a:pt x="2063829" y="1989744"/>
                      <a:pt x="2015347" y="1991745"/>
                      <a:pt x="1987629" y="1975838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3" name="Google Shape;73;p12"/>
              <p:cNvSpPr/>
              <p:nvPr/>
            </p:nvSpPr>
            <p:spPr>
              <a:xfrm>
                <a:off x="3903733" y="3024882"/>
                <a:ext cx="3440892" cy="1987084"/>
              </a:xfrm>
              <a:custGeom>
                <a:avLst/>
                <a:gdLst/>
                <a:ahLst/>
                <a:cxnLst/>
                <a:rect l="l" t="t" r="r" b="b"/>
                <a:pathLst>
                  <a:path w="3440892" h="1987084" extrusionOk="0">
                    <a:moveTo>
                      <a:pt x="1987670" y="1976314"/>
                    </a:moveTo>
                    <a:lnTo>
                      <a:pt x="18662" y="839410"/>
                    </a:lnTo>
                    <a:cubicBezTo>
                      <a:pt x="-8961" y="823503"/>
                      <a:pt x="-5532" y="795690"/>
                      <a:pt x="26377" y="777212"/>
                    </a:cubicBezTo>
                    <a:lnTo>
                      <a:pt x="1345495" y="15212"/>
                    </a:lnTo>
                    <a:cubicBezTo>
                      <a:pt x="1377308" y="-3172"/>
                      <a:pt x="1425600" y="-5172"/>
                      <a:pt x="1453222" y="10735"/>
                    </a:cubicBezTo>
                    <a:lnTo>
                      <a:pt x="3422230" y="1148020"/>
                    </a:lnTo>
                    <a:cubicBezTo>
                      <a:pt x="3449853" y="1164022"/>
                      <a:pt x="3446424" y="1191835"/>
                      <a:pt x="3414515" y="1210218"/>
                    </a:cubicBezTo>
                    <a:lnTo>
                      <a:pt x="2095493" y="1972218"/>
                    </a:lnTo>
                    <a:cubicBezTo>
                      <a:pt x="2063584" y="1990220"/>
                      <a:pt x="2015292" y="1992221"/>
                      <a:pt x="1987670" y="1976314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4" name="Google Shape;74;p12"/>
              <p:cNvSpPr/>
              <p:nvPr/>
            </p:nvSpPr>
            <p:spPr>
              <a:xfrm>
                <a:off x="3903726" y="3801522"/>
                <a:ext cx="41719" cy="37052"/>
              </a:xfrm>
              <a:custGeom>
                <a:avLst/>
                <a:gdLst/>
                <a:ahLst/>
                <a:cxnLst/>
                <a:rect l="l" t="t" r="r" b="b"/>
                <a:pathLst>
                  <a:path w="41719" h="37052" extrusionOk="0">
                    <a:moveTo>
                      <a:pt x="0" y="37052"/>
                    </a:moveTo>
                    <a:lnTo>
                      <a:pt x="0" y="0"/>
                    </a:lnTo>
                    <a:lnTo>
                      <a:pt x="41719" y="17431"/>
                    </a:lnTo>
                    <a:lnTo>
                      <a:pt x="0" y="37052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5" name="Google Shape;75;p12"/>
              <p:cNvSpPr/>
              <p:nvPr/>
            </p:nvSpPr>
            <p:spPr>
              <a:xfrm>
                <a:off x="7313771" y="4164425"/>
                <a:ext cx="30860" cy="40671"/>
              </a:xfrm>
              <a:custGeom>
                <a:avLst/>
                <a:gdLst/>
                <a:ahLst/>
                <a:cxnLst/>
                <a:rect l="l" t="t" r="r" b="b"/>
                <a:pathLst>
                  <a:path w="30860" h="40671" extrusionOk="0">
                    <a:moveTo>
                      <a:pt x="30861" y="36290"/>
                    </a:moveTo>
                    <a:lnTo>
                      <a:pt x="30861" y="0"/>
                    </a:lnTo>
                    <a:lnTo>
                      <a:pt x="0" y="10573"/>
                    </a:lnTo>
                    <a:lnTo>
                      <a:pt x="20479" y="40672"/>
                    </a:lnTo>
                    <a:lnTo>
                      <a:pt x="30861" y="36290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6" name="Google Shape;76;p12"/>
              <p:cNvSpPr/>
              <p:nvPr/>
            </p:nvSpPr>
            <p:spPr>
              <a:xfrm>
                <a:off x="3903733" y="2994046"/>
                <a:ext cx="3440892" cy="1986618"/>
              </a:xfrm>
              <a:custGeom>
                <a:avLst/>
                <a:gdLst/>
                <a:ahLst/>
                <a:cxnLst/>
                <a:rect l="l" t="t" r="r" b="b"/>
                <a:pathLst>
                  <a:path w="3440892" h="1986618" extrusionOk="0">
                    <a:moveTo>
                      <a:pt x="1987670" y="1975813"/>
                    </a:moveTo>
                    <a:lnTo>
                      <a:pt x="18662" y="839005"/>
                    </a:lnTo>
                    <a:cubicBezTo>
                      <a:pt x="-8961" y="823098"/>
                      <a:pt x="-5532" y="795190"/>
                      <a:pt x="26377" y="776806"/>
                    </a:cubicBezTo>
                    <a:lnTo>
                      <a:pt x="1345495" y="15283"/>
                    </a:lnTo>
                    <a:cubicBezTo>
                      <a:pt x="1377308" y="-3196"/>
                      <a:pt x="1425600" y="-5196"/>
                      <a:pt x="1453222" y="10806"/>
                    </a:cubicBezTo>
                    <a:lnTo>
                      <a:pt x="3422230" y="1147615"/>
                    </a:lnTo>
                    <a:cubicBezTo>
                      <a:pt x="3449853" y="1163521"/>
                      <a:pt x="3446424" y="1191430"/>
                      <a:pt x="3414515" y="1209813"/>
                    </a:cubicBezTo>
                    <a:lnTo>
                      <a:pt x="2095493" y="1971336"/>
                    </a:lnTo>
                    <a:cubicBezTo>
                      <a:pt x="2063584" y="1989815"/>
                      <a:pt x="2015292" y="1991815"/>
                      <a:pt x="1987670" y="1975813"/>
                    </a:cubicBezTo>
                    <a:close/>
                  </a:path>
                </a:pathLst>
              </a:custGeom>
              <a:solidFill>
                <a:srgbClr val="E4E7F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" name="Google Shape;77;p12"/>
              <p:cNvSpPr/>
              <p:nvPr/>
            </p:nvSpPr>
            <p:spPr>
              <a:xfrm>
                <a:off x="3903733" y="2989259"/>
                <a:ext cx="3440892" cy="1986608"/>
              </a:xfrm>
              <a:custGeom>
                <a:avLst/>
                <a:gdLst/>
                <a:ahLst/>
                <a:cxnLst/>
                <a:rect l="l" t="t" r="r" b="b"/>
                <a:pathLst>
                  <a:path w="3440892" h="1986608" extrusionOk="0">
                    <a:moveTo>
                      <a:pt x="1987670" y="1975838"/>
                    </a:moveTo>
                    <a:lnTo>
                      <a:pt x="18662" y="838934"/>
                    </a:lnTo>
                    <a:cubicBezTo>
                      <a:pt x="-8961" y="823027"/>
                      <a:pt x="-5532" y="795214"/>
                      <a:pt x="26377" y="776736"/>
                    </a:cubicBezTo>
                    <a:lnTo>
                      <a:pt x="1345495" y="15212"/>
                    </a:lnTo>
                    <a:cubicBezTo>
                      <a:pt x="1377308" y="-3172"/>
                      <a:pt x="1425600" y="-5172"/>
                      <a:pt x="1453222" y="10735"/>
                    </a:cubicBezTo>
                    <a:lnTo>
                      <a:pt x="3422230" y="1147544"/>
                    </a:lnTo>
                    <a:cubicBezTo>
                      <a:pt x="3449853" y="1163546"/>
                      <a:pt x="3446424" y="1191359"/>
                      <a:pt x="3414515" y="1209742"/>
                    </a:cubicBezTo>
                    <a:lnTo>
                      <a:pt x="2095493" y="1971742"/>
                    </a:lnTo>
                    <a:cubicBezTo>
                      <a:pt x="2063584" y="1989744"/>
                      <a:pt x="2015292" y="1991745"/>
                      <a:pt x="1987670" y="1975838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8" name="Google Shape;78;p12"/>
              <p:cNvSpPr/>
              <p:nvPr/>
            </p:nvSpPr>
            <p:spPr>
              <a:xfrm>
                <a:off x="5115918" y="3136967"/>
                <a:ext cx="220549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281" extrusionOk="0">
                    <a:moveTo>
                      <a:pt x="96733" y="124392"/>
                    </a:moveTo>
                    <a:lnTo>
                      <a:pt x="5007" y="71433"/>
                    </a:lnTo>
                    <a:cubicBezTo>
                      <a:pt x="-2422" y="67147"/>
                      <a:pt x="-1470" y="59623"/>
                      <a:pt x="7103" y="54574"/>
                    </a:cubicBezTo>
                    <a:lnTo>
                      <a:pt x="94638" y="4092"/>
                    </a:lnTo>
                    <a:cubicBezTo>
                      <a:pt x="103610" y="-890"/>
                      <a:pt x="114421" y="-1347"/>
                      <a:pt x="123784" y="2853"/>
                    </a:cubicBezTo>
                    <a:lnTo>
                      <a:pt x="215510" y="55812"/>
                    </a:lnTo>
                    <a:cubicBezTo>
                      <a:pt x="222939" y="60099"/>
                      <a:pt x="222082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7" y="128183"/>
                      <a:pt x="106096" y="128641"/>
                      <a:pt x="96733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9" name="Google Shape;79;p12"/>
              <p:cNvSpPr/>
              <p:nvPr/>
            </p:nvSpPr>
            <p:spPr>
              <a:xfrm>
                <a:off x="5245712" y="3211893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65" y="124428"/>
                    </a:moveTo>
                    <a:lnTo>
                      <a:pt x="5039" y="71469"/>
                    </a:lnTo>
                    <a:cubicBezTo>
                      <a:pt x="-2390" y="67183"/>
                      <a:pt x="-1533" y="59563"/>
                      <a:pt x="7135" y="54610"/>
                    </a:cubicBezTo>
                    <a:lnTo>
                      <a:pt x="94670" y="4127"/>
                    </a:lnTo>
                    <a:cubicBezTo>
                      <a:pt x="103633" y="-902"/>
                      <a:pt x="114453" y="-1359"/>
                      <a:pt x="123816" y="2889"/>
                    </a:cubicBezTo>
                    <a:lnTo>
                      <a:pt x="215447" y="55848"/>
                    </a:lnTo>
                    <a:cubicBezTo>
                      <a:pt x="222971" y="60134"/>
                      <a:pt x="222019" y="67659"/>
                      <a:pt x="213351" y="72707"/>
                    </a:cubicBezTo>
                    <a:lnTo>
                      <a:pt x="125912" y="123190"/>
                    </a:lnTo>
                    <a:cubicBezTo>
                      <a:pt x="116930" y="128171"/>
                      <a:pt x="106128" y="128628"/>
                      <a:pt x="96765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" name="Google Shape;80;p12"/>
              <p:cNvSpPr/>
              <p:nvPr/>
            </p:nvSpPr>
            <p:spPr>
              <a:xfrm>
                <a:off x="5376617" y="3287669"/>
                <a:ext cx="220517" cy="127212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12" extrusionOk="0">
                    <a:moveTo>
                      <a:pt x="97114" y="124376"/>
                    </a:moveTo>
                    <a:lnTo>
                      <a:pt x="5007" y="71512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5"/>
                      <a:pt x="114440" y="-1345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7"/>
                      <a:pt x="221987" y="67702"/>
                      <a:pt x="213414" y="72655"/>
                    </a:cubicBezTo>
                    <a:lnTo>
                      <a:pt x="125880" y="123233"/>
                    </a:lnTo>
                    <a:cubicBezTo>
                      <a:pt x="117002" y="128100"/>
                      <a:pt x="106353" y="128529"/>
                      <a:pt x="97114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1" name="Google Shape;81;p12"/>
              <p:cNvSpPr/>
              <p:nvPr/>
            </p:nvSpPr>
            <p:spPr>
              <a:xfrm>
                <a:off x="5505300" y="3361757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393"/>
                    </a:moveTo>
                    <a:lnTo>
                      <a:pt x="5007" y="71434"/>
                    </a:lnTo>
                    <a:cubicBezTo>
                      <a:pt x="-2422" y="67147"/>
                      <a:pt x="-1470" y="59622"/>
                      <a:pt x="7103" y="54574"/>
                    </a:cubicBezTo>
                    <a:lnTo>
                      <a:pt x="94638" y="4092"/>
                    </a:lnTo>
                    <a:cubicBezTo>
                      <a:pt x="103620" y="-890"/>
                      <a:pt x="114421" y="-1347"/>
                      <a:pt x="123784" y="2854"/>
                    </a:cubicBezTo>
                    <a:lnTo>
                      <a:pt x="215510" y="55813"/>
                    </a:lnTo>
                    <a:cubicBezTo>
                      <a:pt x="222939" y="60099"/>
                      <a:pt x="221987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7" y="128184"/>
                      <a:pt x="106096" y="128641"/>
                      <a:pt x="96733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2" name="Google Shape;82;p12"/>
              <p:cNvSpPr/>
              <p:nvPr/>
            </p:nvSpPr>
            <p:spPr>
              <a:xfrm>
                <a:off x="5635055" y="3436683"/>
                <a:ext cx="220563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81" extrusionOk="0">
                    <a:moveTo>
                      <a:pt x="96709" y="124428"/>
                    </a:moveTo>
                    <a:lnTo>
                      <a:pt x="5078" y="71469"/>
                    </a:lnTo>
                    <a:cubicBezTo>
                      <a:pt x="-2447" y="67183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707"/>
                    </a:cubicBezTo>
                    <a:lnTo>
                      <a:pt x="125950" y="123190"/>
                    </a:lnTo>
                    <a:cubicBezTo>
                      <a:pt x="116940" y="128171"/>
                      <a:pt x="106110" y="128628"/>
                      <a:pt x="96709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3" name="Google Shape;83;p12"/>
              <p:cNvSpPr/>
              <p:nvPr/>
            </p:nvSpPr>
            <p:spPr>
              <a:xfrm>
                <a:off x="5764856" y="3511602"/>
                <a:ext cx="220517" cy="127307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307" extrusionOk="0">
                    <a:moveTo>
                      <a:pt x="96733" y="124376"/>
                    </a:moveTo>
                    <a:lnTo>
                      <a:pt x="5007" y="71512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5"/>
                      <a:pt x="114440" y="-1345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7"/>
                      <a:pt x="221987" y="67702"/>
                      <a:pt x="213414" y="72655"/>
                    </a:cubicBezTo>
                    <a:lnTo>
                      <a:pt x="125880" y="123233"/>
                    </a:lnTo>
                    <a:cubicBezTo>
                      <a:pt x="116898" y="128234"/>
                      <a:pt x="106077" y="128652"/>
                      <a:pt x="96733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4" name="Google Shape;84;p12"/>
              <p:cNvSpPr/>
              <p:nvPr/>
            </p:nvSpPr>
            <p:spPr>
              <a:xfrm>
                <a:off x="5894611" y="3586162"/>
                <a:ext cx="220563" cy="127549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549" extrusionOk="0">
                    <a:moveTo>
                      <a:pt x="96613" y="124777"/>
                    </a:moveTo>
                    <a:lnTo>
                      <a:pt x="5078" y="71437"/>
                    </a:lnTo>
                    <a:cubicBezTo>
                      <a:pt x="-2447" y="67151"/>
                      <a:pt x="-1494" y="59626"/>
                      <a:pt x="7174" y="54578"/>
                    </a:cubicBezTo>
                    <a:lnTo>
                      <a:pt x="94613" y="4096"/>
                    </a:lnTo>
                    <a:cubicBezTo>
                      <a:pt x="103624" y="-886"/>
                      <a:pt x="114454" y="-1353"/>
                      <a:pt x="123855" y="2857"/>
                    </a:cubicBezTo>
                    <a:lnTo>
                      <a:pt x="215485" y="55816"/>
                    </a:lnTo>
                    <a:cubicBezTo>
                      <a:pt x="223010" y="60103"/>
                      <a:pt x="222058" y="67722"/>
                      <a:pt x="213390" y="72676"/>
                    </a:cubicBezTo>
                    <a:lnTo>
                      <a:pt x="125950" y="123158"/>
                    </a:lnTo>
                    <a:cubicBezTo>
                      <a:pt x="116997" y="128378"/>
                      <a:pt x="106081" y="128978"/>
                      <a:pt x="96613" y="12477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5" name="Google Shape;85;p12"/>
              <p:cNvSpPr/>
              <p:nvPr/>
            </p:nvSpPr>
            <p:spPr>
              <a:xfrm>
                <a:off x="6024246" y="3661473"/>
                <a:ext cx="220563" cy="12723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38" extrusionOk="0">
                    <a:moveTo>
                      <a:pt x="96899" y="124428"/>
                    </a:moveTo>
                    <a:lnTo>
                      <a:pt x="5078" y="71469"/>
                    </a:lnTo>
                    <a:cubicBezTo>
                      <a:pt x="-2447" y="67183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576" y="-902"/>
                      <a:pt x="114397" y="-1359"/>
                      <a:pt x="123760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707"/>
                    </a:cubicBezTo>
                    <a:lnTo>
                      <a:pt x="125855" y="123190"/>
                    </a:lnTo>
                    <a:cubicBezTo>
                      <a:pt x="116930" y="128114"/>
                      <a:pt x="106215" y="128571"/>
                      <a:pt x="96899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6" name="Google Shape;86;p12"/>
              <p:cNvSpPr/>
              <p:nvPr/>
            </p:nvSpPr>
            <p:spPr>
              <a:xfrm>
                <a:off x="6154238" y="3736400"/>
                <a:ext cx="220517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300" extrusionOk="0">
                    <a:moveTo>
                      <a:pt x="96733" y="124368"/>
                    </a:moveTo>
                    <a:lnTo>
                      <a:pt x="5007" y="71504"/>
                    </a:lnTo>
                    <a:cubicBezTo>
                      <a:pt x="-2422" y="67123"/>
                      <a:pt x="-1470" y="59598"/>
                      <a:pt x="7103" y="54645"/>
                    </a:cubicBezTo>
                    <a:lnTo>
                      <a:pt x="94637" y="4163"/>
                    </a:lnTo>
                    <a:cubicBezTo>
                      <a:pt x="103591" y="-914"/>
                      <a:pt x="114430" y="-1371"/>
                      <a:pt x="123784" y="2924"/>
                    </a:cubicBezTo>
                    <a:lnTo>
                      <a:pt x="215510" y="55884"/>
                    </a:lnTo>
                    <a:cubicBezTo>
                      <a:pt x="222939" y="60170"/>
                      <a:pt x="221987" y="67694"/>
                      <a:pt x="213414" y="72647"/>
                    </a:cubicBezTo>
                    <a:lnTo>
                      <a:pt x="125879" y="123225"/>
                    </a:lnTo>
                    <a:cubicBezTo>
                      <a:pt x="116897" y="128226"/>
                      <a:pt x="106077" y="128645"/>
                      <a:pt x="96733" y="124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7" name="Google Shape;87;p12"/>
              <p:cNvSpPr/>
              <p:nvPr/>
            </p:nvSpPr>
            <p:spPr>
              <a:xfrm>
                <a:off x="6283993" y="3811354"/>
                <a:ext cx="220563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64" extrusionOk="0">
                    <a:moveTo>
                      <a:pt x="96709" y="124376"/>
                    </a:moveTo>
                    <a:lnTo>
                      <a:pt x="5078" y="71417"/>
                    </a:lnTo>
                    <a:cubicBezTo>
                      <a:pt x="-2446" y="67131"/>
                      <a:pt x="-1494" y="59606"/>
                      <a:pt x="7174" y="54558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138"/>
                    </a:lnTo>
                    <a:cubicBezTo>
                      <a:pt x="116949" y="128167"/>
                      <a:pt x="106100" y="128624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8" name="Google Shape;88;p12"/>
              <p:cNvSpPr/>
              <p:nvPr/>
            </p:nvSpPr>
            <p:spPr>
              <a:xfrm>
                <a:off x="6413794" y="3886299"/>
                <a:ext cx="220517" cy="127246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46" extrusionOk="0">
                    <a:moveTo>
                      <a:pt x="96733" y="124393"/>
                    </a:moveTo>
                    <a:lnTo>
                      <a:pt x="5008" y="71434"/>
                    </a:lnTo>
                    <a:cubicBezTo>
                      <a:pt x="-2422" y="67147"/>
                      <a:pt x="-1470" y="59622"/>
                      <a:pt x="7103" y="54574"/>
                    </a:cubicBezTo>
                    <a:lnTo>
                      <a:pt x="94638" y="4092"/>
                    </a:lnTo>
                    <a:cubicBezTo>
                      <a:pt x="103610" y="-890"/>
                      <a:pt x="114412" y="-1347"/>
                      <a:pt x="123784" y="2854"/>
                    </a:cubicBezTo>
                    <a:lnTo>
                      <a:pt x="215510" y="55813"/>
                    </a:lnTo>
                    <a:cubicBezTo>
                      <a:pt x="222939" y="60099"/>
                      <a:pt x="221987" y="67623"/>
                      <a:pt x="213414" y="72672"/>
                    </a:cubicBezTo>
                    <a:lnTo>
                      <a:pt x="125880" y="123154"/>
                    </a:lnTo>
                    <a:cubicBezTo>
                      <a:pt x="116898" y="128136"/>
                      <a:pt x="106096" y="128593"/>
                      <a:pt x="96733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9" name="Google Shape;89;p12"/>
              <p:cNvSpPr/>
              <p:nvPr/>
            </p:nvSpPr>
            <p:spPr>
              <a:xfrm>
                <a:off x="6543549" y="3961225"/>
                <a:ext cx="220563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64" extrusionOk="0">
                    <a:moveTo>
                      <a:pt x="96709" y="124333"/>
                    </a:moveTo>
                    <a:lnTo>
                      <a:pt x="5078" y="71469"/>
                    </a:lnTo>
                    <a:cubicBezTo>
                      <a:pt x="-2446" y="67087"/>
                      <a:pt x="-1494" y="59563"/>
                      <a:pt x="7174" y="54609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612"/>
                    </a:cubicBezTo>
                    <a:lnTo>
                      <a:pt x="125950" y="123190"/>
                    </a:lnTo>
                    <a:cubicBezTo>
                      <a:pt x="116940" y="128190"/>
                      <a:pt x="106081" y="128609"/>
                      <a:pt x="96709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0" name="Google Shape;90;p12"/>
              <p:cNvSpPr/>
              <p:nvPr/>
            </p:nvSpPr>
            <p:spPr>
              <a:xfrm>
                <a:off x="6673375" y="4036144"/>
                <a:ext cx="220524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300" extrusionOk="0">
                    <a:moveTo>
                      <a:pt x="96709" y="124376"/>
                    </a:moveTo>
                    <a:lnTo>
                      <a:pt x="5078" y="71417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595" y="-926"/>
                      <a:pt x="114416" y="-1344"/>
                      <a:pt x="123760" y="2932"/>
                    </a:cubicBezTo>
                    <a:lnTo>
                      <a:pt x="215485" y="55796"/>
                    </a:lnTo>
                    <a:cubicBezTo>
                      <a:pt x="222915" y="60177"/>
                      <a:pt x="222058" y="67702"/>
                      <a:pt x="213390" y="72655"/>
                    </a:cubicBezTo>
                    <a:lnTo>
                      <a:pt x="125855" y="123138"/>
                    </a:lnTo>
                    <a:cubicBezTo>
                      <a:pt x="116902" y="128215"/>
                      <a:pt x="106062" y="128672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1" name="Google Shape;91;p12"/>
              <p:cNvSpPr/>
              <p:nvPr/>
            </p:nvSpPr>
            <p:spPr>
              <a:xfrm>
                <a:off x="6803525" y="4111089"/>
                <a:ext cx="283033" cy="163345"/>
              </a:xfrm>
              <a:custGeom>
                <a:avLst/>
                <a:gdLst/>
                <a:ahLst/>
                <a:cxnLst/>
                <a:rect l="l" t="t" r="r" b="b"/>
                <a:pathLst>
                  <a:path w="283033" h="163345" extrusionOk="0">
                    <a:moveTo>
                      <a:pt x="159249" y="160492"/>
                    </a:moveTo>
                    <a:lnTo>
                      <a:pt x="5039" y="71433"/>
                    </a:lnTo>
                    <a:cubicBezTo>
                      <a:pt x="-2390" y="67147"/>
                      <a:pt x="-1533" y="59622"/>
                      <a:pt x="7135" y="54574"/>
                    </a:cubicBezTo>
                    <a:lnTo>
                      <a:pt x="94670" y="4092"/>
                    </a:lnTo>
                    <a:cubicBezTo>
                      <a:pt x="103652" y="-890"/>
                      <a:pt x="114453" y="-1347"/>
                      <a:pt x="123816" y="2854"/>
                    </a:cubicBezTo>
                    <a:lnTo>
                      <a:pt x="278026" y="91912"/>
                    </a:lnTo>
                    <a:cubicBezTo>
                      <a:pt x="285455" y="96198"/>
                      <a:pt x="284503" y="103723"/>
                      <a:pt x="275930" y="108772"/>
                    </a:cubicBezTo>
                    <a:lnTo>
                      <a:pt x="188396" y="159254"/>
                    </a:lnTo>
                    <a:cubicBezTo>
                      <a:pt x="179414" y="164236"/>
                      <a:pt x="168612" y="164693"/>
                      <a:pt x="159249" y="1604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2" name="Google Shape;92;p12"/>
              <p:cNvSpPr/>
              <p:nvPr/>
            </p:nvSpPr>
            <p:spPr>
              <a:xfrm>
                <a:off x="5182617" y="3320721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804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68" y="128234"/>
                      <a:pt x="106148" y="128653"/>
                      <a:pt x="96804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3" name="Google Shape;93;p12"/>
              <p:cNvSpPr/>
              <p:nvPr/>
            </p:nvSpPr>
            <p:spPr>
              <a:xfrm>
                <a:off x="5312634" y="3395587"/>
                <a:ext cx="220563" cy="12754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548" extrusionOk="0">
                    <a:moveTo>
                      <a:pt x="96709" y="12456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6141" y="123424"/>
                    </a:lnTo>
                    <a:cubicBezTo>
                      <a:pt x="117073" y="128491"/>
                      <a:pt x="106138" y="128910"/>
                      <a:pt x="96709" y="12456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4" name="Google Shape;94;p12"/>
              <p:cNvSpPr/>
              <p:nvPr/>
            </p:nvSpPr>
            <p:spPr>
              <a:xfrm>
                <a:off x="5442650" y="3470843"/>
                <a:ext cx="220563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0" extrusionOk="0">
                    <a:moveTo>
                      <a:pt x="96709" y="124368"/>
                    </a:moveTo>
                    <a:lnTo>
                      <a:pt x="5078" y="71504"/>
                    </a:lnTo>
                    <a:cubicBezTo>
                      <a:pt x="-2447" y="67123"/>
                      <a:pt x="-1494" y="59598"/>
                      <a:pt x="7174" y="54645"/>
                    </a:cubicBezTo>
                    <a:lnTo>
                      <a:pt x="94613" y="4163"/>
                    </a:lnTo>
                    <a:cubicBezTo>
                      <a:pt x="103595" y="-914"/>
                      <a:pt x="114473" y="-1371"/>
                      <a:pt x="123855" y="2924"/>
                    </a:cubicBezTo>
                    <a:lnTo>
                      <a:pt x="215485" y="55883"/>
                    </a:lnTo>
                    <a:cubicBezTo>
                      <a:pt x="223010" y="60170"/>
                      <a:pt x="222058" y="67694"/>
                      <a:pt x="213390" y="72647"/>
                    </a:cubicBezTo>
                    <a:lnTo>
                      <a:pt x="125950" y="123225"/>
                    </a:lnTo>
                    <a:cubicBezTo>
                      <a:pt x="116940" y="128226"/>
                      <a:pt x="106081" y="128645"/>
                      <a:pt x="96709" y="124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5" name="Google Shape;95;p12"/>
              <p:cNvSpPr/>
              <p:nvPr/>
            </p:nvSpPr>
            <p:spPr>
              <a:xfrm>
                <a:off x="5572666" y="3545935"/>
                <a:ext cx="220563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64" extrusionOk="0">
                    <a:moveTo>
                      <a:pt x="96709" y="124333"/>
                    </a:moveTo>
                    <a:lnTo>
                      <a:pt x="5078" y="71469"/>
                    </a:lnTo>
                    <a:cubicBezTo>
                      <a:pt x="-2447" y="67087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612"/>
                    </a:cubicBezTo>
                    <a:lnTo>
                      <a:pt x="125950" y="123190"/>
                    </a:lnTo>
                    <a:cubicBezTo>
                      <a:pt x="116940" y="128190"/>
                      <a:pt x="106081" y="128609"/>
                      <a:pt x="96709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6" name="Google Shape;96;p12"/>
              <p:cNvSpPr/>
              <p:nvPr/>
            </p:nvSpPr>
            <p:spPr>
              <a:xfrm>
                <a:off x="5701635" y="3620377"/>
                <a:ext cx="220563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0" extrusionOk="0">
                    <a:moveTo>
                      <a:pt x="96709" y="124376"/>
                    </a:moveTo>
                    <a:lnTo>
                      <a:pt x="5078" y="71417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8"/>
                      <a:pt x="222058" y="67702"/>
                      <a:pt x="213390" y="72655"/>
                    </a:cubicBezTo>
                    <a:lnTo>
                      <a:pt x="125950" y="123138"/>
                    </a:lnTo>
                    <a:cubicBezTo>
                      <a:pt x="116968" y="128215"/>
                      <a:pt x="106091" y="128672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7" name="Google Shape;97;p12"/>
              <p:cNvSpPr/>
              <p:nvPr/>
            </p:nvSpPr>
            <p:spPr>
              <a:xfrm>
                <a:off x="5831651" y="3695149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8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4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8" name="Google Shape;98;p12"/>
              <p:cNvSpPr/>
              <p:nvPr/>
            </p:nvSpPr>
            <p:spPr>
              <a:xfrm>
                <a:off x="5961667" y="3770491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8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4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9" name="Google Shape;99;p12"/>
              <p:cNvSpPr/>
              <p:nvPr/>
            </p:nvSpPr>
            <p:spPr>
              <a:xfrm>
                <a:off x="6091683" y="3845548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595" y="-925"/>
                      <a:pt x="114416" y="-1345"/>
                      <a:pt x="123760" y="2932"/>
                    </a:cubicBezTo>
                    <a:lnTo>
                      <a:pt x="215486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4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0" name="Google Shape;100;p12"/>
              <p:cNvSpPr/>
              <p:nvPr/>
            </p:nvSpPr>
            <p:spPr>
              <a:xfrm>
                <a:off x="6221700" y="3920605"/>
                <a:ext cx="220524" cy="127307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307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595" y="-925"/>
                      <a:pt x="114416" y="-1345"/>
                      <a:pt x="123760" y="2932"/>
                    </a:cubicBezTo>
                    <a:lnTo>
                      <a:pt x="215485" y="55891"/>
                    </a:lnTo>
                    <a:cubicBezTo>
                      <a:pt x="222915" y="60177"/>
                      <a:pt x="222058" y="67702"/>
                      <a:pt x="213390" y="72655"/>
                    </a:cubicBezTo>
                    <a:lnTo>
                      <a:pt x="125855" y="123233"/>
                    </a:lnTo>
                    <a:cubicBezTo>
                      <a:pt x="116873" y="128234"/>
                      <a:pt x="106053" y="128652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1" name="Google Shape;101;p12"/>
              <p:cNvSpPr/>
              <p:nvPr/>
            </p:nvSpPr>
            <p:spPr>
              <a:xfrm>
                <a:off x="6351691" y="3995706"/>
                <a:ext cx="220549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264" extrusionOk="0">
                    <a:moveTo>
                      <a:pt x="96733" y="124333"/>
                    </a:moveTo>
                    <a:lnTo>
                      <a:pt x="5007" y="71469"/>
                    </a:lnTo>
                    <a:cubicBezTo>
                      <a:pt x="-2422" y="67087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2082" y="67659"/>
                      <a:pt x="213414" y="72612"/>
                    </a:cubicBezTo>
                    <a:lnTo>
                      <a:pt x="125880" y="123190"/>
                    </a:lnTo>
                    <a:cubicBezTo>
                      <a:pt x="116898" y="128190"/>
                      <a:pt x="106077" y="128609"/>
                      <a:pt x="96733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2" name="Google Shape;102;p12"/>
              <p:cNvSpPr/>
              <p:nvPr/>
            </p:nvSpPr>
            <p:spPr>
              <a:xfrm>
                <a:off x="6481517" y="4070763"/>
                <a:ext cx="220517" cy="127215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15" extrusionOk="0">
                    <a:moveTo>
                      <a:pt x="96924" y="124333"/>
                    </a:moveTo>
                    <a:lnTo>
                      <a:pt x="5007" y="71469"/>
                    </a:lnTo>
                    <a:cubicBezTo>
                      <a:pt x="-2422" y="67087"/>
                      <a:pt x="-1470" y="59563"/>
                      <a:pt x="7103" y="54609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612"/>
                    </a:cubicBezTo>
                    <a:lnTo>
                      <a:pt x="125880" y="123190"/>
                    </a:lnTo>
                    <a:cubicBezTo>
                      <a:pt x="116955" y="128124"/>
                      <a:pt x="106210" y="128543"/>
                      <a:pt x="96924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3" name="Google Shape;103;p12"/>
              <p:cNvSpPr/>
              <p:nvPr/>
            </p:nvSpPr>
            <p:spPr>
              <a:xfrm>
                <a:off x="6611724" y="4145820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428"/>
                    </a:moveTo>
                    <a:lnTo>
                      <a:pt x="5007" y="71469"/>
                    </a:lnTo>
                    <a:cubicBezTo>
                      <a:pt x="-2422" y="67087"/>
                      <a:pt x="-1470" y="59563"/>
                      <a:pt x="7103" y="54610"/>
                    </a:cubicBezTo>
                    <a:lnTo>
                      <a:pt x="94637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707"/>
                    </a:cubicBezTo>
                    <a:lnTo>
                      <a:pt x="125879" y="123190"/>
                    </a:lnTo>
                    <a:cubicBezTo>
                      <a:pt x="116897" y="128171"/>
                      <a:pt x="106096" y="128628"/>
                      <a:pt x="96733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4" name="Google Shape;104;p12"/>
              <p:cNvSpPr/>
              <p:nvPr/>
            </p:nvSpPr>
            <p:spPr>
              <a:xfrm>
                <a:off x="4990117" y="3209572"/>
                <a:ext cx="283047" cy="163399"/>
              </a:xfrm>
              <a:custGeom>
                <a:avLst/>
                <a:gdLst/>
                <a:ahLst/>
                <a:cxnLst/>
                <a:rect l="l" t="t" r="r" b="b"/>
                <a:pathLst>
                  <a:path w="283047" h="163399" extrusionOk="0">
                    <a:moveTo>
                      <a:pt x="159288" y="160468"/>
                    </a:moveTo>
                    <a:lnTo>
                      <a:pt x="5078" y="71504"/>
                    </a:lnTo>
                    <a:cubicBezTo>
                      <a:pt x="-2447" y="67123"/>
                      <a:pt x="-1494" y="59598"/>
                      <a:pt x="7174" y="54645"/>
                    </a:cubicBezTo>
                    <a:lnTo>
                      <a:pt x="94613" y="4163"/>
                    </a:lnTo>
                    <a:cubicBezTo>
                      <a:pt x="103595" y="-914"/>
                      <a:pt x="114473" y="-1371"/>
                      <a:pt x="123855" y="2924"/>
                    </a:cubicBezTo>
                    <a:lnTo>
                      <a:pt x="277969" y="91888"/>
                    </a:lnTo>
                    <a:cubicBezTo>
                      <a:pt x="285494" y="96269"/>
                      <a:pt x="284542" y="103794"/>
                      <a:pt x="275874" y="108747"/>
                    </a:cubicBezTo>
                    <a:lnTo>
                      <a:pt x="188434" y="159325"/>
                    </a:lnTo>
                    <a:cubicBezTo>
                      <a:pt x="179452" y="164325"/>
                      <a:pt x="168632" y="164745"/>
                      <a:pt x="159288" y="1604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5" name="Google Shape;105;p12"/>
              <p:cNvSpPr/>
              <p:nvPr/>
            </p:nvSpPr>
            <p:spPr>
              <a:xfrm>
                <a:off x="6648640" y="4220618"/>
                <a:ext cx="313122" cy="199558"/>
              </a:xfrm>
              <a:custGeom>
                <a:avLst/>
                <a:gdLst/>
                <a:ahLst/>
                <a:cxnLst/>
                <a:rect l="l" t="t" r="r" b="b"/>
                <a:pathLst>
                  <a:path w="313122" h="199558" extrusionOk="0">
                    <a:moveTo>
                      <a:pt x="307467" y="56107"/>
                    </a:moveTo>
                    <a:lnTo>
                      <a:pt x="215836" y="3243"/>
                    </a:lnTo>
                    <a:cubicBezTo>
                      <a:pt x="207274" y="-1081"/>
                      <a:pt x="197158" y="-1081"/>
                      <a:pt x="188595" y="3243"/>
                    </a:cubicBezTo>
                    <a:lnTo>
                      <a:pt x="96107" y="56107"/>
                    </a:lnTo>
                    <a:cubicBezTo>
                      <a:pt x="91764" y="57564"/>
                      <a:pt x="89430" y="62260"/>
                      <a:pt x="90878" y="66594"/>
                    </a:cubicBezTo>
                    <a:cubicBezTo>
                      <a:pt x="91707" y="69061"/>
                      <a:pt x="93640" y="70994"/>
                      <a:pt x="96107" y="71823"/>
                    </a:cubicBezTo>
                    <a:lnTo>
                      <a:pt x="103442" y="76014"/>
                    </a:lnTo>
                    <a:cubicBezTo>
                      <a:pt x="107442" y="77329"/>
                      <a:pt x="109614" y="81634"/>
                      <a:pt x="108299" y="85635"/>
                    </a:cubicBezTo>
                    <a:cubicBezTo>
                      <a:pt x="107547" y="87930"/>
                      <a:pt x="105737" y="89740"/>
                      <a:pt x="103442" y="90492"/>
                    </a:cubicBezTo>
                    <a:lnTo>
                      <a:pt x="5715" y="146880"/>
                    </a:lnTo>
                    <a:cubicBezTo>
                      <a:pt x="-1905" y="151262"/>
                      <a:pt x="-1905" y="158310"/>
                      <a:pt x="5715" y="162596"/>
                    </a:cubicBezTo>
                    <a:lnTo>
                      <a:pt x="64103" y="196315"/>
                    </a:lnTo>
                    <a:cubicBezTo>
                      <a:pt x="72666" y="200639"/>
                      <a:pt x="82782" y="200639"/>
                      <a:pt x="91345" y="196315"/>
                    </a:cubicBezTo>
                    <a:lnTo>
                      <a:pt x="182690" y="143546"/>
                    </a:lnTo>
                    <a:lnTo>
                      <a:pt x="201740" y="132593"/>
                    </a:lnTo>
                    <a:lnTo>
                      <a:pt x="215360" y="124782"/>
                    </a:lnTo>
                    <a:lnTo>
                      <a:pt x="229076" y="116877"/>
                    </a:lnTo>
                    <a:lnTo>
                      <a:pt x="307848" y="71347"/>
                    </a:lnTo>
                    <a:cubicBezTo>
                      <a:pt x="314896" y="67061"/>
                      <a:pt x="314992" y="60108"/>
                      <a:pt x="307467" y="5610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6" name="Google Shape;106;p12"/>
              <p:cNvSpPr/>
              <p:nvPr/>
            </p:nvSpPr>
            <p:spPr>
              <a:xfrm>
                <a:off x="4613284" y="3427765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392"/>
                    </a:moveTo>
                    <a:lnTo>
                      <a:pt x="5007" y="71433"/>
                    </a:lnTo>
                    <a:cubicBezTo>
                      <a:pt x="-2422" y="67147"/>
                      <a:pt x="-1470" y="59623"/>
                      <a:pt x="7103" y="54574"/>
                    </a:cubicBezTo>
                    <a:lnTo>
                      <a:pt x="94638" y="4092"/>
                    </a:lnTo>
                    <a:cubicBezTo>
                      <a:pt x="103620" y="-890"/>
                      <a:pt x="114421" y="-1347"/>
                      <a:pt x="123784" y="2853"/>
                    </a:cubicBezTo>
                    <a:lnTo>
                      <a:pt x="215510" y="55812"/>
                    </a:lnTo>
                    <a:cubicBezTo>
                      <a:pt x="222939" y="60194"/>
                      <a:pt x="221987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7" y="128183"/>
                      <a:pt x="106096" y="128641"/>
                      <a:pt x="96733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7" name="Google Shape;107;p12"/>
              <p:cNvSpPr/>
              <p:nvPr/>
            </p:nvSpPr>
            <p:spPr>
              <a:xfrm>
                <a:off x="4742658" y="3502501"/>
                <a:ext cx="220563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81" extrusionOk="0">
                    <a:moveTo>
                      <a:pt x="96709" y="124428"/>
                    </a:moveTo>
                    <a:lnTo>
                      <a:pt x="5078" y="71469"/>
                    </a:lnTo>
                    <a:cubicBezTo>
                      <a:pt x="-2447" y="67087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707"/>
                    </a:cubicBezTo>
                    <a:lnTo>
                      <a:pt x="125950" y="123190"/>
                    </a:lnTo>
                    <a:cubicBezTo>
                      <a:pt x="116940" y="128171"/>
                      <a:pt x="106110" y="128628"/>
                      <a:pt x="96709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8" name="Google Shape;108;p12"/>
              <p:cNvSpPr/>
              <p:nvPr/>
            </p:nvSpPr>
            <p:spPr>
              <a:xfrm>
                <a:off x="4871721" y="3577213"/>
                <a:ext cx="220563" cy="127189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189" extrusionOk="0">
                    <a:moveTo>
                      <a:pt x="97090" y="124392"/>
                    </a:moveTo>
                    <a:lnTo>
                      <a:pt x="5078" y="71433"/>
                    </a:lnTo>
                    <a:cubicBezTo>
                      <a:pt x="-2447" y="67147"/>
                      <a:pt x="-1494" y="59623"/>
                      <a:pt x="7174" y="54574"/>
                    </a:cubicBezTo>
                    <a:lnTo>
                      <a:pt x="94613" y="4092"/>
                    </a:lnTo>
                    <a:cubicBezTo>
                      <a:pt x="103595" y="-890"/>
                      <a:pt x="114397" y="-1347"/>
                      <a:pt x="123760" y="2853"/>
                    </a:cubicBezTo>
                    <a:lnTo>
                      <a:pt x="215485" y="55813"/>
                    </a:lnTo>
                    <a:cubicBezTo>
                      <a:pt x="223010" y="60099"/>
                      <a:pt x="222058" y="67719"/>
                      <a:pt x="213390" y="72672"/>
                    </a:cubicBezTo>
                    <a:lnTo>
                      <a:pt x="125950" y="123154"/>
                    </a:lnTo>
                    <a:cubicBezTo>
                      <a:pt x="117054" y="128060"/>
                      <a:pt x="106376" y="128517"/>
                      <a:pt x="97090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9" name="Google Shape;109;p12"/>
              <p:cNvSpPr/>
              <p:nvPr/>
            </p:nvSpPr>
            <p:spPr>
              <a:xfrm>
                <a:off x="5974216" y="4213507"/>
                <a:ext cx="220549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300" extrusionOk="0">
                    <a:moveTo>
                      <a:pt x="96733" y="124368"/>
                    </a:moveTo>
                    <a:lnTo>
                      <a:pt x="5007" y="71504"/>
                    </a:lnTo>
                    <a:cubicBezTo>
                      <a:pt x="-2422" y="67123"/>
                      <a:pt x="-1470" y="59598"/>
                      <a:pt x="7103" y="54645"/>
                    </a:cubicBezTo>
                    <a:lnTo>
                      <a:pt x="94638" y="4162"/>
                    </a:lnTo>
                    <a:cubicBezTo>
                      <a:pt x="103591" y="-914"/>
                      <a:pt x="114430" y="-1371"/>
                      <a:pt x="123784" y="2924"/>
                    </a:cubicBezTo>
                    <a:lnTo>
                      <a:pt x="215510" y="55883"/>
                    </a:lnTo>
                    <a:cubicBezTo>
                      <a:pt x="222939" y="60170"/>
                      <a:pt x="222082" y="67694"/>
                      <a:pt x="213414" y="72647"/>
                    </a:cubicBezTo>
                    <a:lnTo>
                      <a:pt x="125879" y="123225"/>
                    </a:lnTo>
                    <a:cubicBezTo>
                      <a:pt x="116897" y="128226"/>
                      <a:pt x="106077" y="128645"/>
                      <a:pt x="96733" y="124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0" name="Google Shape;110;p12"/>
              <p:cNvSpPr/>
              <p:nvPr/>
            </p:nvSpPr>
            <p:spPr>
              <a:xfrm>
                <a:off x="6104041" y="4288254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392"/>
                    </a:moveTo>
                    <a:lnTo>
                      <a:pt x="5007" y="71433"/>
                    </a:lnTo>
                    <a:cubicBezTo>
                      <a:pt x="-2422" y="67147"/>
                      <a:pt x="-1470" y="59622"/>
                      <a:pt x="7103" y="54574"/>
                    </a:cubicBezTo>
                    <a:lnTo>
                      <a:pt x="94638" y="4092"/>
                    </a:lnTo>
                    <a:cubicBezTo>
                      <a:pt x="103620" y="-890"/>
                      <a:pt x="114421" y="-1347"/>
                      <a:pt x="123784" y="2854"/>
                    </a:cubicBezTo>
                    <a:lnTo>
                      <a:pt x="215510" y="55813"/>
                    </a:lnTo>
                    <a:cubicBezTo>
                      <a:pt x="222939" y="60099"/>
                      <a:pt x="221987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6" y="128183"/>
                      <a:pt x="106096" y="128641"/>
                      <a:pt x="96733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1" name="Google Shape;111;p12"/>
              <p:cNvSpPr/>
              <p:nvPr/>
            </p:nvSpPr>
            <p:spPr>
              <a:xfrm>
                <a:off x="6233034" y="4362946"/>
                <a:ext cx="220563" cy="127351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51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6"/>
                      <a:pt x="114482" y="-1344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328"/>
                    </a:lnTo>
                    <a:cubicBezTo>
                      <a:pt x="116920" y="128300"/>
                      <a:pt x="106072" y="128681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2" name="Google Shape;112;p12"/>
              <p:cNvSpPr/>
              <p:nvPr/>
            </p:nvSpPr>
            <p:spPr>
              <a:xfrm>
                <a:off x="6362479" y="4438082"/>
                <a:ext cx="220563" cy="127246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46" extrusionOk="0">
                    <a:moveTo>
                      <a:pt x="96709" y="124393"/>
                    </a:moveTo>
                    <a:lnTo>
                      <a:pt x="5078" y="71434"/>
                    </a:lnTo>
                    <a:cubicBezTo>
                      <a:pt x="-2447" y="67147"/>
                      <a:pt x="-1494" y="59623"/>
                      <a:pt x="7174" y="54574"/>
                    </a:cubicBezTo>
                    <a:lnTo>
                      <a:pt x="94613" y="4092"/>
                    </a:lnTo>
                    <a:cubicBezTo>
                      <a:pt x="103595" y="-890"/>
                      <a:pt x="114397" y="-1347"/>
                      <a:pt x="123760" y="2853"/>
                    </a:cubicBezTo>
                    <a:lnTo>
                      <a:pt x="215485" y="55812"/>
                    </a:lnTo>
                    <a:cubicBezTo>
                      <a:pt x="223010" y="60099"/>
                      <a:pt x="222058" y="67624"/>
                      <a:pt x="213390" y="72672"/>
                    </a:cubicBezTo>
                    <a:lnTo>
                      <a:pt x="125950" y="123154"/>
                    </a:lnTo>
                    <a:cubicBezTo>
                      <a:pt x="116940" y="128136"/>
                      <a:pt x="106110" y="128593"/>
                      <a:pt x="96709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3" name="Google Shape;113;p12"/>
              <p:cNvSpPr/>
              <p:nvPr/>
            </p:nvSpPr>
            <p:spPr>
              <a:xfrm>
                <a:off x="5001523" y="3651913"/>
                <a:ext cx="253854" cy="146540"/>
              </a:xfrm>
              <a:custGeom>
                <a:avLst/>
                <a:gdLst/>
                <a:ahLst/>
                <a:cxnLst/>
                <a:rect l="l" t="t" r="r" b="b"/>
                <a:pathLst>
                  <a:path w="253854" h="146540" extrusionOk="0">
                    <a:moveTo>
                      <a:pt x="130071" y="143609"/>
                    </a:moveTo>
                    <a:lnTo>
                      <a:pt x="5007" y="71504"/>
                    </a:lnTo>
                    <a:cubicBezTo>
                      <a:pt x="-2422" y="67123"/>
                      <a:pt x="-1470" y="59598"/>
                      <a:pt x="7103" y="54645"/>
                    </a:cubicBezTo>
                    <a:lnTo>
                      <a:pt x="94638" y="4163"/>
                    </a:lnTo>
                    <a:cubicBezTo>
                      <a:pt x="103591" y="-914"/>
                      <a:pt x="114431" y="-1371"/>
                      <a:pt x="123784" y="2924"/>
                    </a:cubicBezTo>
                    <a:lnTo>
                      <a:pt x="248847" y="75124"/>
                    </a:lnTo>
                    <a:cubicBezTo>
                      <a:pt x="256277" y="79410"/>
                      <a:pt x="255324" y="86935"/>
                      <a:pt x="246752" y="91888"/>
                    </a:cubicBezTo>
                    <a:lnTo>
                      <a:pt x="159217" y="142465"/>
                    </a:lnTo>
                    <a:cubicBezTo>
                      <a:pt x="150235" y="147466"/>
                      <a:pt x="139415" y="147885"/>
                      <a:pt x="130071" y="143609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4" name="Google Shape;114;p12"/>
              <p:cNvSpPr/>
              <p:nvPr/>
            </p:nvSpPr>
            <p:spPr>
              <a:xfrm>
                <a:off x="5811458" y="4119562"/>
                <a:ext cx="253901" cy="146525"/>
              </a:xfrm>
              <a:custGeom>
                <a:avLst/>
                <a:gdLst/>
                <a:ahLst/>
                <a:cxnLst/>
                <a:rect l="l" t="t" r="r" b="b"/>
                <a:pathLst>
                  <a:path w="253901" h="146525" extrusionOk="0">
                    <a:moveTo>
                      <a:pt x="130046" y="143637"/>
                    </a:moveTo>
                    <a:lnTo>
                      <a:pt x="5078" y="71437"/>
                    </a:lnTo>
                    <a:cubicBezTo>
                      <a:pt x="-2447" y="67151"/>
                      <a:pt x="-1494" y="59626"/>
                      <a:pt x="7174" y="54578"/>
                    </a:cubicBezTo>
                    <a:lnTo>
                      <a:pt x="94613" y="4096"/>
                    </a:lnTo>
                    <a:cubicBezTo>
                      <a:pt x="103624" y="-886"/>
                      <a:pt x="114454" y="-1353"/>
                      <a:pt x="123855" y="2857"/>
                    </a:cubicBezTo>
                    <a:lnTo>
                      <a:pt x="248823" y="75057"/>
                    </a:lnTo>
                    <a:cubicBezTo>
                      <a:pt x="256348" y="79343"/>
                      <a:pt x="255395" y="86963"/>
                      <a:pt x="246727" y="91916"/>
                    </a:cubicBezTo>
                    <a:lnTo>
                      <a:pt x="159288" y="142399"/>
                    </a:lnTo>
                    <a:cubicBezTo>
                      <a:pt x="150287" y="147428"/>
                      <a:pt x="139438" y="147885"/>
                      <a:pt x="130046" y="14363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5" name="Google Shape;115;p12"/>
              <p:cNvSpPr/>
              <p:nvPr/>
            </p:nvSpPr>
            <p:spPr>
              <a:xfrm>
                <a:off x="5164178" y="3745900"/>
                <a:ext cx="738494" cy="426244"/>
              </a:xfrm>
              <a:custGeom>
                <a:avLst/>
                <a:gdLst/>
                <a:ahLst/>
                <a:cxnLst/>
                <a:rect l="l" t="t" r="r" b="b"/>
                <a:pathLst>
                  <a:path w="738494" h="426244" extrusionOk="0">
                    <a:moveTo>
                      <a:pt x="614639" y="423287"/>
                    </a:moveTo>
                    <a:lnTo>
                      <a:pt x="5039" y="71433"/>
                    </a:lnTo>
                    <a:cubicBezTo>
                      <a:pt x="-2390" y="67147"/>
                      <a:pt x="-1533" y="59622"/>
                      <a:pt x="7135" y="54574"/>
                    </a:cubicBezTo>
                    <a:lnTo>
                      <a:pt x="94670" y="4092"/>
                    </a:lnTo>
                    <a:cubicBezTo>
                      <a:pt x="103652" y="-890"/>
                      <a:pt x="114453" y="-1347"/>
                      <a:pt x="123816" y="2854"/>
                    </a:cubicBezTo>
                    <a:lnTo>
                      <a:pt x="733416" y="354802"/>
                    </a:lnTo>
                    <a:cubicBezTo>
                      <a:pt x="740941" y="359089"/>
                      <a:pt x="739989" y="366613"/>
                      <a:pt x="731321" y="371566"/>
                    </a:cubicBezTo>
                    <a:lnTo>
                      <a:pt x="643881" y="422144"/>
                    </a:lnTo>
                    <a:cubicBezTo>
                      <a:pt x="634880" y="427173"/>
                      <a:pt x="624012" y="427602"/>
                      <a:pt x="614639" y="42328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6" name="Google Shape;116;p12"/>
              <p:cNvSpPr/>
              <p:nvPr/>
            </p:nvSpPr>
            <p:spPr>
              <a:xfrm>
                <a:off x="5092169" y="3413764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65" y="124392"/>
                    </a:moveTo>
                    <a:lnTo>
                      <a:pt x="5039" y="71433"/>
                    </a:lnTo>
                    <a:cubicBezTo>
                      <a:pt x="-2390" y="67147"/>
                      <a:pt x="-1533" y="59623"/>
                      <a:pt x="7135" y="54574"/>
                    </a:cubicBezTo>
                    <a:lnTo>
                      <a:pt x="94670" y="4092"/>
                    </a:lnTo>
                    <a:cubicBezTo>
                      <a:pt x="103652" y="-890"/>
                      <a:pt x="114453" y="-1347"/>
                      <a:pt x="123816" y="2853"/>
                    </a:cubicBezTo>
                    <a:lnTo>
                      <a:pt x="215447" y="55812"/>
                    </a:lnTo>
                    <a:cubicBezTo>
                      <a:pt x="222972" y="60099"/>
                      <a:pt x="222019" y="67719"/>
                      <a:pt x="213351" y="72672"/>
                    </a:cubicBezTo>
                    <a:lnTo>
                      <a:pt x="125912" y="123154"/>
                    </a:lnTo>
                    <a:cubicBezTo>
                      <a:pt x="116949" y="128183"/>
                      <a:pt x="106128" y="128641"/>
                      <a:pt x="96765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7" name="Google Shape;117;p12"/>
              <p:cNvSpPr/>
              <p:nvPr/>
            </p:nvSpPr>
            <p:spPr>
              <a:xfrm>
                <a:off x="5221804" y="3488595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65" y="124428"/>
                    </a:moveTo>
                    <a:lnTo>
                      <a:pt x="5039" y="71469"/>
                    </a:lnTo>
                    <a:cubicBezTo>
                      <a:pt x="-2390" y="67183"/>
                      <a:pt x="-1533" y="59563"/>
                      <a:pt x="7135" y="54610"/>
                    </a:cubicBezTo>
                    <a:lnTo>
                      <a:pt x="94670" y="4127"/>
                    </a:lnTo>
                    <a:cubicBezTo>
                      <a:pt x="103633" y="-902"/>
                      <a:pt x="114453" y="-1359"/>
                      <a:pt x="123816" y="2889"/>
                    </a:cubicBezTo>
                    <a:lnTo>
                      <a:pt x="215447" y="55848"/>
                    </a:lnTo>
                    <a:cubicBezTo>
                      <a:pt x="222972" y="60134"/>
                      <a:pt x="222019" y="67659"/>
                      <a:pt x="213351" y="72707"/>
                    </a:cubicBezTo>
                    <a:lnTo>
                      <a:pt x="125912" y="123190"/>
                    </a:lnTo>
                    <a:cubicBezTo>
                      <a:pt x="116930" y="128171"/>
                      <a:pt x="106128" y="128628"/>
                      <a:pt x="96765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8" name="Google Shape;118;p12"/>
              <p:cNvSpPr/>
              <p:nvPr/>
            </p:nvSpPr>
            <p:spPr>
              <a:xfrm>
                <a:off x="5351534" y="3563461"/>
                <a:ext cx="220549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264" extrusionOk="0">
                    <a:moveTo>
                      <a:pt x="96765" y="124333"/>
                    </a:moveTo>
                    <a:lnTo>
                      <a:pt x="5039" y="71469"/>
                    </a:lnTo>
                    <a:cubicBezTo>
                      <a:pt x="-2390" y="67087"/>
                      <a:pt x="-1533" y="59563"/>
                      <a:pt x="7135" y="54610"/>
                    </a:cubicBezTo>
                    <a:lnTo>
                      <a:pt x="94670" y="4127"/>
                    </a:lnTo>
                    <a:cubicBezTo>
                      <a:pt x="103633" y="-902"/>
                      <a:pt x="114453" y="-1359"/>
                      <a:pt x="123816" y="2889"/>
                    </a:cubicBezTo>
                    <a:lnTo>
                      <a:pt x="215542" y="55848"/>
                    </a:lnTo>
                    <a:cubicBezTo>
                      <a:pt x="222972" y="60134"/>
                      <a:pt x="222019" y="67659"/>
                      <a:pt x="213447" y="72707"/>
                    </a:cubicBezTo>
                    <a:lnTo>
                      <a:pt x="125912" y="123190"/>
                    </a:lnTo>
                    <a:cubicBezTo>
                      <a:pt x="116930" y="128190"/>
                      <a:pt x="106109" y="128609"/>
                      <a:pt x="96765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9" name="Google Shape;119;p12"/>
              <p:cNvSpPr/>
              <p:nvPr/>
            </p:nvSpPr>
            <p:spPr>
              <a:xfrm>
                <a:off x="5481392" y="3638284"/>
                <a:ext cx="220517" cy="127225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25" extrusionOk="0">
                    <a:moveTo>
                      <a:pt x="96447" y="124090"/>
                    </a:moveTo>
                    <a:lnTo>
                      <a:pt x="5007" y="71512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5"/>
                      <a:pt x="114440" y="-1345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8"/>
                      <a:pt x="221987" y="67702"/>
                      <a:pt x="213414" y="72655"/>
                    </a:cubicBezTo>
                    <a:lnTo>
                      <a:pt x="125880" y="123233"/>
                    </a:lnTo>
                    <a:cubicBezTo>
                      <a:pt x="116774" y="128234"/>
                      <a:pt x="105830" y="128557"/>
                      <a:pt x="96447" y="124090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0" name="Google Shape;120;p12"/>
              <p:cNvSpPr/>
              <p:nvPr/>
            </p:nvSpPr>
            <p:spPr>
              <a:xfrm>
                <a:off x="5610742" y="3713151"/>
                <a:ext cx="220517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64" extrusionOk="0">
                    <a:moveTo>
                      <a:pt x="96733" y="124376"/>
                    </a:moveTo>
                    <a:lnTo>
                      <a:pt x="5007" y="71417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6"/>
                      <a:pt x="114440" y="-1344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7"/>
                      <a:pt x="221987" y="67702"/>
                      <a:pt x="213414" y="72655"/>
                    </a:cubicBezTo>
                    <a:lnTo>
                      <a:pt x="125880" y="123138"/>
                    </a:lnTo>
                    <a:cubicBezTo>
                      <a:pt x="116917" y="128167"/>
                      <a:pt x="106096" y="128624"/>
                      <a:pt x="96733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1" name="Google Shape;121;p12"/>
              <p:cNvSpPr/>
              <p:nvPr/>
            </p:nvSpPr>
            <p:spPr>
              <a:xfrm>
                <a:off x="5740377" y="3788001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393"/>
                    </a:moveTo>
                    <a:lnTo>
                      <a:pt x="5007" y="71434"/>
                    </a:lnTo>
                    <a:cubicBezTo>
                      <a:pt x="-2422" y="67147"/>
                      <a:pt x="-1470" y="59623"/>
                      <a:pt x="7103" y="54574"/>
                    </a:cubicBezTo>
                    <a:lnTo>
                      <a:pt x="94638" y="4092"/>
                    </a:lnTo>
                    <a:cubicBezTo>
                      <a:pt x="103620" y="-890"/>
                      <a:pt x="114421" y="-1347"/>
                      <a:pt x="123784" y="2853"/>
                    </a:cubicBezTo>
                    <a:lnTo>
                      <a:pt x="215510" y="55812"/>
                    </a:lnTo>
                    <a:cubicBezTo>
                      <a:pt x="222939" y="60099"/>
                      <a:pt x="221987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7" y="128184"/>
                      <a:pt x="106096" y="128641"/>
                      <a:pt x="96733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2" name="Google Shape;122;p12"/>
              <p:cNvSpPr/>
              <p:nvPr/>
            </p:nvSpPr>
            <p:spPr>
              <a:xfrm>
                <a:off x="5870012" y="3862832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428"/>
                    </a:moveTo>
                    <a:lnTo>
                      <a:pt x="5007" y="71469"/>
                    </a:lnTo>
                    <a:cubicBezTo>
                      <a:pt x="-2422" y="67183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707"/>
                    </a:cubicBezTo>
                    <a:lnTo>
                      <a:pt x="125880" y="123190"/>
                    </a:lnTo>
                    <a:cubicBezTo>
                      <a:pt x="116907" y="128171"/>
                      <a:pt x="106096" y="128628"/>
                      <a:pt x="96733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3" name="Google Shape;123;p12"/>
              <p:cNvSpPr/>
              <p:nvPr/>
            </p:nvSpPr>
            <p:spPr>
              <a:xfrm>
                <a:off x="5999266" y="3937698"/>
                <a:ext cx="220549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281" extrusionOk="0">
                    <a:moveTo>
                      <a:pt x="96733" y="124428"/>
                    </a:moveTo>
                    <a:lnTo>
                      <a:pt x="5007" y="71469"/>
                    </a:lnTo>
                    <a:cubicBezTo>
                      <a:pt x="-2422" y="67087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2082" y="67659"/>
                      <a:pt x="213414" y="72707"/>
                    </a:cubicBezTo>
                    <a:lnTo>
                      <a:pt x="125880" y="123190"/>
                    </a:lnTo>
                    <a:cubicBezTo>
                      <a:pt x="116898" y="128171"/>
                      <a:pt x="106096" y="128628"/>
                      <a:pt x="96733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4" name="Google Shape;124;p12"/>
              <p:cNvSpPr/>
              <p:nvPr/>
            </p:nvSpPr>
            <p:spPr>
              <a:xfrm>
                <a:off x="6129021" y="4012522"/>
                <a:ext cx="220524" cy="127237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37" extrusionOk="0">
                    <a:moveTo>
                      <a:pt x="96994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595" y="-925"/>
                      <a:pt x="114416" y="-1345"/>
                      <a:pt x="123760" y="2932"/>
                    </a:cubicBezTo>
                    <a:lnTo>
                      <a:pt x="215485" y="55796"/>
                    </a:lnTo>
                    <a:cubicBezTo>
                      <a:pt x="222915" y="60177"/>
                      <a:pt x="222058" y="67702"/>
                      <a:pt x="213390" y="72655"/>
                    </a:cubicBezTo>
                    <a:lnTo>
                      <a:pt x="125855" y="123233"/>
                    </a:lnTo>
                    <a:cubicBezTo>
                      <a:pt x="116949" y="128138"/>
                      <a:pt x="106262" y="128557"/>
                      <a:pt x="96994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5" name="Google Shape;125;p12"/>
              <p:cNvSpPr/>
              <p:nvPr/>
            </p:nvSpPr>
            <p:spPr>
              <a:xfrm>
                <a:off x="6258942" y="4087388"/>
                <a:ext cx="220563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0" extrusionOk="0">
                    <a:moveTo>
                      <a:pt x="96709" y="124376"/>
                    </a:moveTo>
                    <a:lnTo>
                      <a:pt x="5078" y="71417"/>
                    </a:lnTo>
                    <a:cubicBezTo>
                      <a:pt x="-2447" y="67131"/>
                      <a:pt x="-1494" y="59606"/>
                      <a:pt x="7173" y="54653"/>
                    </a:cubicBezTo>
                    <a:lnTo>
                      <a:pt x="94613" y="4075"/>
                    </a:lnTo>
                    <a:cubicBezTo>
                      <a:pt x="103595" y="-925"/>
                      <a:pt x="114415" y="-1345"/>
                      <a:pt x="123760" y="2932"/>
                    </a:cubicBezTo>
                    <a:lnTo>
                      <a:pt x="215485" y="55796"/>
                    </a:lnTo>
                    <a:cubicBezTo>
                      <a:pt x="223010" y="60178"/>
                      <a:pt x="222058" y="67702"/>
                      <a:pt x="213390" y="72655"/>
                    </a:cubicBezTo>
                    <a:lnTo>
                      <a:pt x="125950" y="123138"/>
                    </a:lnTo>
                    <a:cubicBezTo>
                      <a:pt x="116968" y="128215"/>
                      <a:pt x="106091" y="128672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6" name="Google Shape;126;p12"/>
              <p:cNvSpPr/>
              <p:nvPr/>
            </p:nvSpPr>
            <p:spPr>
              <a:xfrm>
                <a:off x="6388578" y="4161853"/>
                <a:ext cx="220563" cy="127285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85" extrusionOk="0">
                    <a:moveTo>
                      <a:pt x="96709" y="124396"/>
                    </a:moveTo>
                    <a:lnTo>
                      <a:pt x="5078" y="71437"/>
                    </a:lnTo>
                    <a:cubicBezTo>
                      <a:pt x="-2447" y="67151"/>
                      <a:pt x="-1494" y="59627"/>
                      <a:pt x="7174" y="54578"/>
                    </a:cubicBezTo>
                    <a:lnTo>
                      <a:pt x="94613" y="4096"/>
                    </a:lnTo>
                    <a:cubicBezTo>
                      <a:pt x="103624" y="-886"/>
                      <a:pt x="114454" y="-1353"/>
                      <a:pt x="123855" y="2857"/>
                    </a:cubicBezTo>
                    <a:lnTo>
                      <a:pt x="215485" y="55816"/>
                    </a:lnTo>
                    <a:cubicBezTo>
                      <a:pt x="223010" y="60103"/>
                      <a:pt x="222058" y="67723"/>
                      <a:pt x="213390" y="72676"/>
                    </a:cubicBezTo>
                    <a:lnTo>
                      <a:pt x="125950" y="123158"/>
                    </a:lnTo>
                    <a:cubicBezTo>
                      <a:pt x="116949" y="128187"/>
                      <a:pt x="106100" y="128645"/>
                      <a:pt x="96709" y="12439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7" name="Google Shape;127;p12"/>
              <p:cNvSpPr/>
              <p:nvPr/>
            </p:nvSpPr>
            <p:spPr>
              <a:xfrm>
                <a:off x="6518213" y="4237101"/>
                <a:ext cx="221039" cy="127370"/>
              </a:xfrm>
              <a:custGeom>
                <a:avLst/>
                <a:gdLst/>
                <a:ahLst/>
                <a:cxnLst/>
                <a:rect l="l" t="t" r="r" b="b"/>
                <a:pathLst>
                  <a:path w="221039" h="127370" extrusionOk="0">
                    <a:moveTo>
                      <a:pt x="96709" y="124396"/>
                    </a:moveTo>
                    <a:lnTo>
                      <a:pt x="5078" y="71437"/>
                    </a:lnTo>
                    <a:cubicBezTo>
                      <a:pt x="-2447" y="67151"/>
                      <a:pt x="-1494" y="59626"/>
                      <a:pt x="7173" y="54578"/>
                    </a:cubicBezTo>
                    <a:lnTo>
                      <a:pt x="94613" y="4095"/>
                    </a:lnTo>
                    <a:cubicBezTo>
                      <a:pt x="103624" y="-886"/>
                      <a:pt x="114454" y="-1353"/>
                      <a:pt x="123855" y="2857"/>
                    </a:cubicBezTo>
                    <a:lnTo>
                      <a:pt x="215962" y="55816"/>
                    </a:lnTo>
                    <a:cubicBezTo>
                      <a:pt x="223486" y="60103"/>
                      <a:pt x="222534" y="67627"/>
                      <a:pt x="213866" y="72676"/>
                    </a:cubicBezTo>
                    <a:lnTo>
                      <a:pt x="126427" y="123158"/>
                    </a:lnTo>
                    <a:cubicBezTo>
                      <a:pt x="117292" y="128302"/>
                      <a:pt x="106243" y="128759"/>
                      <a:pt x="96709" y="12439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8" name="Google Shape;128;p12"/>
              <p:cNvSpPr/>
              <p:nvPr/>
            </p:nvSpPr>
            <p:spPr>
              <a:xfrm>
                <a:off x="4864578" y="3282378"/>
                <a:ext cx="318480" cy="183800"/>
              </a:xfrm>
              <a:custGeom>
                <a:avLst/>
                <a:gdLst/>
                <a:ahLst/>
                <a:cxnLst/>
                <a:rect l="l" t="t" r="r" b="b"/>
                <a:pathLst>
                  <a:path w="318480" h="183800" extrusionOk="0">
                    <a:moveTo>
                      <a:pt x="194721" y="180911"/>
                    </a:moveTo>
                    <a:lnTo>
                      <a:pt x="5078" y="71469"/>
                    </a:lnTo>
                    <a:cubicBezTo>
                      <a:pt x="-2447" y="67087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313402" y="112331"/>
                    </a:lnTo>
                    <a:cubicBezTo>
                      <a:pt x="320927" y="116713"/>
                      <a:pt x="319975" y="124237"/>
                      <a:pt x="311307" y="129190"/>
                    </a:cubicBezTo>
                    <a:lnTo>
                      <a:pt x="223867" y="179673"/>
                    </a:lnTo>
                    <a:cubicBezTo>
                      <a:pt x="214904" y="184702"/>
                      <a:pt x="204084" y="185159"/>
                      <a:pt x="194721" y="180911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9" name="Google Shape;129;p12"/>
              <p:cNvSpPr/>
              <p:nvPr/>
            </p:nvSpPr>
            <p:spPr>
              <a:xfrm>
                <a:off x="4902011" y="3449213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6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3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0" name="Google Shape;130;p12"/>
              <p:cNvSpPr/>
              <p:nvPr/>
            </p:nvSpPr>
            <p:spPr>
              <a:xfrm>
                <a:off x="5031646" y="3523682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09" y="124393"/>
                    </a:moveTo>
                    <a:lnTo>
                      <a:pt x="5078" y="71434"/>
                    </a:lnTo>
                    <a:cubicBezTo>
                      <a:pt x="-2447" y="67147"/>
                      <a:pt x="-1494" y="59623"/>
                      <a:pt x="7174" y="54574"/>
                    </a:cubicBezTo>
                    <a:lnTo>
                      <a:pt x="94613" y="4092"/>
                    </a:lnTo>
                    <a:cubicBezTo>
                      <a:pt x="103595" y="-890"/>
                      <a:pt x="114397" y="-1347"/>
                      <a:pt x="123760" y="2853"/>
                    </a:cubicBezTo>
                    <a:lnTo>
                      <a:pt x="215485" y="55812"/>
                    </a:lnTo>
                    <a:cubicBezTo>
                      <a:pt x="222915" y="60099"/>
                      <a:pt x="222058" y="67719"/>
                      <a:pt x="213390" y="72672"/>
                    </a:cubicBezTo>
                    <a:lnTo>
                      <a:pt x="125855" y="123154"/>
                    </a:lnTo>
                    <a:cubicBezTo>
                      <a:pt x="116892" y="128184"/>
                      <a:pt x="106072" y="128641"/>
                      <a:pt x="96709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1" name="Google Shape;131;p12"/>
              <p:cNvSpPr/>
              <p:nvPr/>
            </p:nvSpPr>
            <p:spPr>
              <a:xfrm>
                <a:off x="5161066" y="3598894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428"/>
                    </a:moveTo>
                    <a:lnTo>
                      <a:pt x="5007" y="71469"/>
                    </a:lnTo>
                    <a:cubicBezTo>
                      <a:pt x="-2422" y="67183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707"/>
                    </a:cubicBezTo>
                    <a:lnTo>
                      <a:pt x="125880" y="123190"/>
                    </a:lnTo>
                    <a:cubicBezTo>
                      <a:pt x="116898" y="128171"/>
                      <a:pt x="106096" y="128628"/>
                      <a:pt x="96733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2" name="Google Shape;132;p12"/>
              <p:cNvSpPr/>
              <p:nvPr/>
            </p:nvSpPr>
            <p:spPr>
              <a:xfrm>
                <a:off x="5290892" y="3673717"/>
                <a:ext cx="220517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308" extrusionOk="0">
                    <a:moveTo>
                      <a:pt x="96733" y="124376"/>
                    </a:moveTo>
                    <a:lnTo>
                      <a:pt x="5007" y="71512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5"/>
                      <a:pt x="114440" y="-1345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8"/>
                      <a:pt x="221987" y="67702"/>
                      <a:pt x="213414" y="72655"/>
                    </a:cubicBezTo>
                    <a:lnTo>
                      <a:pt x="125880" y="123233"/>
                    </a:lnTo>
                    <a:cubicBezTo>
                      <a:pt x="116897" y="128234"/>
                      <a:pt x="106077" y="128653"/>
                      <a:pt x="96733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3" name="Google Shape;133;p12"/>
              <p:cNvSpPr/>
              <p:nvPr/>
            </p:nvSpPr>
            <p:spPr>
              <a:xfrm>
                <a:off x="5420495" y="3748758"/>
                <a:ext cx="220334" cy="127131"/>
              </a:xfrm>
              <a:custGeom>
                <a:avLst/>
                <a:gdLst/>
                <a:ahLst/>
                <a:cxnLst/>
                <a:rect l="l" t="t" r="r" b="b"/>
                <a:pathLst>
                  <a:path w="220334" h="127131" extrusionOk="0">
                    <a:moveTo>
                      <a:pt x="96765" y="124202"/>
                    </a:moveTo>
                    <a:lnTo>
                      <a:pt x="5039" y="71243"/>
                    </a:lnTo>
                    <a:cubicBezTo>
                      <a:pt x="-2390" y="66957"/>
                      <a:pt x="-1533" y="59432"/>
                      <a:pt x="7135" y="54384"/>
                    </a:cubicBezTo>
                    <a:lnTo>
                      <a:pt x="94479" y="4092"/>
                    </a:lnTo>
                    <a:cubicBezTo>
                      <a:pt x="103461" y="-890"/>
                      <a:pt x="114263" y="-1347"/>
                      <a:pt x="123626" y="2854"/>
                    </a:cubicBezTo>
                    <a:lnTo>
                      <a:pt x="215256" y="55813"/>
                    </a:lnTo>
                    <a:cubicBezTo>
                      <a:pt x="222781" y="60099"/>
                      <a:pt x="221828" y="67719"/>
                      <a:pt x="213161" y="72672"/>
                    </a:cubicBezTo>
                    <a:lnTo>
                      <a:pt x="125721" y="123154"/>
                    </a:lnTo>
                    <a:cubicBezTo>
                      <a:pt x="116777" y="128060"/>
                      <a:pt x="106043" y="128450"/>
                      <a:pt x="96765" y="12420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4" name="Google Shape;134;p12"/>
              <p:cNvSpPr/>
              <p:nvPr/>
            </p:nvSpPr>
            <p:spPr>
              <a:xfrm>
                <a:off x="5550092" y="3823398"/>
                <a:ext cx="220563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81" extrusionOk="0">
                    <a:moveTo>
                      <a:pt x="96709" y="124428"/>
                    </a:moveTo>
                    <a:lnTo>
                      <a:pt x="5078" y="71469"/>
                    </a:lnTo>
                    <a:cubicBezTo>
                      <a:pt x="-2447" y="67183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707"/>
                    </a:cubicBezTo>
                    <a:lnTo>
                      <a:pt x="125950" y="123190"/>
                    </a:lnTo>
                    <a:cubicBezTo>
                      <a:pt x="116940" y="128171"/>
                      <a:pt x="106110" y="128628"/>
                      <a:pt x="96709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5" name="Google Shape;135;p12"/>
              <p:cNvSpPr/>
              <p:nvPr/>
            </p:nvSpPr>
            <p:spPr>
              <a:xfrm>
                <a:off x="5679727" y="3898222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4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6" name="Google Shape;136;p12"/>
              <p:cNvSpPr/>
              <p:nvPr/>
            </p:nvSpPr>
            <p:spPr>
              <a:xfrm>
                <a:off x="5809362" y="3973072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09" y="124392"/>
                    </a:moveTo>
                    <a:lnTo>
                      <a:pt x="5078" y="71433"/>
                    </a:lnTo>
                    <a:cubicBezTo>
                      <a:pt x="-2447" y="67147"/>
                      <a:pt x="-1494" y="59622"/>
                      <a:pt x="7174" y="54574"/>
                    </a:cubicBezTo>
                    <a:lnTo>
                      <a:pt x="94613" y="4092"/>
                    </a:lnTo>
                    <a:cubicBezTo>
                      <a:pt x="103595" y="-890"/>
                      <a:pt x="114397" y="-1347"/>
                      <a:pt x="123760" y="2854"/>
                    </a:cubicBezTo>
                    <a:lnTo>
                      <a:pt x="215485" y="55813"/>
                    </a:lnTo>
                    <a:cubicBezTo>
                      <a:pt x="222915" y="60194"/>
                      <a:pt x="222058" y="67719"/>
                      <a:pt x="213390" y="72672"/>
                    </a:cubicBezTo>
                    <a:lnTo>
                      <a:pt x="125855" y="123154"/>
                    </a:lnTo>
                    <a:cubicBezTo>
                      <a:pt x="116892" y="128183"/>
                      <a:pt x="106072" y="128641"/>
                      <a:pt x="96709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7" name="Google Shape;137;p12"/>
              <p:cNvSpPr/>
              <p:nvPr/>
            </p:nvSpPr>
            <p:spPr>
              <a:xfrm>
                <a:off x="5938592" y="4047903"/>
                <a:ext cx="220517" cy="126979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6979" extrusionOk="0">
                    <a:moveTo>
                      <a:pt x="97114" y="124047"/>
                    </a:moveTo>
                    <a:lnTo>
                      <a:pt x="5007" y="71469"/>
                    </a:lnTo>
                    <a:cubicBezTo>
                      <a:pt x="-2422" y="67183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707"/>
                    </a:cubicBezTo>
                    <a:lnTo>
                      <a:pt x="125880" y="123190"/>
                    </a:lnTo>
                    <a:cubicBezTo>
                      <a:pt x="116945" y="127924"/>
                      <a:pt x="106315" y="128238"/>
                      <a:pt x="97114" y="12404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8" name="Google Shape;138;p12"/>
              <p:cNvSpPr/>
              <p:nvPr/>
            </p:nvSpPr>
            <p:spPr>
              <a:xfrm>
                <a:off x="6068608" y="4122734"/>
                <a:ext cx="220517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300" extrusionOk="0">
                    <a:moveTo>
                      <a:pt x="96733" y="124368"/>
                    </a:moveTo>
                    <a:lnTo>
                      <a:pt x="5007" y="71504"/>
                    </a:lnTo>
                    <a:cubicBezTo>
                      <a:pt x="-2422" y="67123"/>
                      <a:pt x="-1470" y="59598"/>
                      <a:pt x="7103" y="54645"/>
                    </a:cubicBezTo>
                    <a:lnTo>
                      <a:pt x="94638" y="4162"/>
                    </a:lnTo>
                    <a:cubicBezTo>
                      <a:pt x="103591" y="-914"/>
                      <a:pt x="114431" y="-1371"/>
                      <a:pt x="123784" y="2924"/>
                    </a:cubicBezTo>
                    <a:lnTo>
                      <a:pt x="215510" y="55883"/>
                    </a:lnTo>
                    <a:cubicBezTo>
                      <a:pt x="222939" y="60170"/>
                      <a:pt x="221987" y="67694"/>
                      <a:pt x="213414" y="72647"/>
                    </a:cubicBezTo>
                    <a:lnTo>
                      <a:pt x="125880" y="123225"/>
                    </a:lnTo>
                    <a:cubicBezTo>
                      <a:pt x="116898" y="128226"/>
                      <a:pt x="106077" y="128645"/>
                      <a:pt x="96733" y="124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9" name="Google Shape;139;p12"/>
              <p:cNvSpPr/>
              <p:nvPr/>
            </p:nvSpPr>
            <p:spPr>
              <a:xfrm>
                <a:off x="6198212" y="4197576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65" y="124393"/>
                    </a:moveTo>
                    <a:lnTo>
                      <a:pt x="5039" y="71434"/>
                    </a:lnTo>
                    <a:cubicBezTo>
                      <a:pt x="-2390" y="67147"/>
                      <a:pt x="-1533" y="59623"/>
                      <a:pt x="7135" y="54574"/>
                    </a:cubicBezTo>
                    <a:lnTo>
                      <a:pt x="94670" y="4092"/>
                    </a:lnTo>
                    <a:cubicBezTo>
                      <a:pt x="103652" y="-890"/>
                      <a:pt x="114453" y="-1347"/>
                      <a:pt x="123816" y="2853"/>
                    </a:cubicBezTo>
                    <a:lnTo>
                      <a:pt x="215447" y="55812"/>
                    </a:lnTo>
                    <a:cubicBezTo>
                      <a:pt x="222972" y="60194"/>
                      <a:pt x="222019" y="67719"/>
                      <a:pt x="213351" y="72672"/>
                    </a:cubicBezTo>
                    <a:lnTo>
                      <a:pt x="125912" y="123154"/>
                    </a:lnTo>
                    <a:cubicBezTo>
                      <a:pt x="116949" y="128184"/>
                      <a:pt x="106128" y="128641"/>
                      <a:pt x="96765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0" name="Google Shape;140;p12"/>
              <p:cNvSpPr/>
              <p:nvPr/>
            </p:nvSpPr>
            <p:spPr>
              <a:xfrm>
                <a:off x="6327808" y="4272442"/>
                <a:ext cx="380989" cy="219907"/>
              </a:xfrm>
              <a:custGeom>
                <a:avLst/>
                <a:gdLst/>
                <a:ahLst/>
                <a:cxnLst/>
                <a:rect l="l" t="t" r="r" b="b"/>
                <a:pathLst>
                  <a:path w="380989" h="219907" extrusionOk="0">
                    <a:moveTo>
                      <a:pt x="257205" y="216975"/>
                    </a:moveTo>
                    <a:lnTo>
                      <a:pt x="5078" y="71433"/>
                    </a:lnTo>
                    <a:cubicBezTo>
                      <a:pt x="-2447" y="67147"/>
                      <a:pt x="-1494" y="59622"/>
                      <a:pt x="7174" y="54574"/>
                    </a:cubicBezTo>
                    <a:lnTo>
                      <a:pt x="94613" y="4092"/>
                    </a:lnTo>
                    <a:cubicBezTo>
                      <a:pt x="103624" y="-890"/>
                      <a:pt x="114454" y="-1347"/>
                      <a:pt x="123855" y="2854"/>
                    </a:cubicBezTo>
                    <a:lnTo>
                      <a:pt x="375982" y="148396"/>
                    </a:lnTo>
                    <a:cubicBezTo>
                      <a:pt x="383411" y="152777"/>
                      <a:pt x="382459" y="160302"/>
                      <a:pt x="373886" y="165255"/>
                    </a:cubicBezTo>
                    <a:lnTo>
                      <a:pt x="286351" y="215832"/>
                    </a:lnTo>
                    <a:cubicBezTo>
                      <a:pt x="277369" y="220833"/>
                      <a:pt x="266549" y="221252"/>
                      <a:pt x="257205" y="216975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1" name="Google Shape;141;p12"/>
              <p:cNvSpPr/>
              <p:nvPr/>
            </p:nvSpPr>
            <p:spPr>
              <a:xfrm>
                <a:off x="4739038" y="3355149"/>
                <a:ext cx="253901" cy="146525"/>
              </a:xfrm>
              <a:custGeom>
                <a:avLst/>
                <a:gdLst/>
                <a:ahLst/>
                <a:cxnLst/>
                <a:rect l="l" t="t" r="r" b="b"/>
                <a:pathLst>
                  <a:path w="253901" h="146525" extrusionOk="0">
                    <a:moveTo>
                      <a:pt x="130046" y="143668"/>
                    </a:moveTo>
                    <a:lnTo>
                      <a:pt x="5078" y="71469"/>
                    </a:lnTo>
                    <a:cubicBezTo>
                      <a:pt x="-2447" y="67183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48823" y="75088"/>
                    </a:lnTo>
                    <a:cubicBezTo>
                      <a:pt x="256348" y="79375"/>
                      <a:pt x="255395" y="86899"/>
                      <a:pt x="246727" y="91948"/>
                    </a:cubicBezTo>
                    <a:lnTo>
                      <a:pt x="159288" y="142430"/>
                    </a:lnTo>
                    <a:cubicBezTo>
                      <a:pt x="150277" y="147412"/>
                      <a:pt x="139447" y="147879"/>
                      <a:pt x="130046" y="1436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2" name="Google Shape;142;p12"/>
              <p:cNvSpPr/>
              <p:nvPr/>
            </p:nvSpPr>
            <p:spPr>
              <a:xfrm>
                <a:off x="5246664" y="3087528"/>
                <a:ext cx="1926000" cy="1111651"/>
              </a:xfrm>
              <a:custGeom>
                <a:avLst/>
                <a:gdLst/>
                <a:ahLst/>
                <a:cxnLst/>
                <a:rect l="l" t="t" r="r" b="b"/>
                <a:pathLst>
                  <a:path w="1926000" h="1111651" extrusionOk="0">
                    <a:moveTo>
                      <a:pt x="1845936" y="1108805"/>
                    </a:moveTo>
                    <a:lnTo>
                      <a:pt x="5039" y="46196"/>
                    </a:lnTo>
                    <a:cubicBezTo>
                      <a:pt x="-2390" y="41910"/>
                      <a:pt x="-1533" y="34290"/>
                      <a:pt x="7135" y="29337"/>
                    </a:cubicBezTo>
                    <a:lnTo>
                      <a:pt x="50855" y="4096"/>
                    </a:lnTo>
                    <a:cubicBezTo>
                      <a:pt x="59865" y="-886"/>
                      <a:pt x="70695" y="-1353"/>
                      <a:pt x="80097" y="2857"/>
                    </a:cubicBezTo>
                    <a:lnTo>
                      <a:pt x="1920993" y="1065371"/>
                    </a:lnTo>
                    <a:cubicBezTo>
                      <a:pt x="1928423" y="1069658"/>
                      <a:pt x="1927470" y="1077182"/>
                      <a:pt x="1918898" y="1082230"/>
                    </a:cubicBezTo>
                    <a:lnTo>
                      <a:pt x="1875083" y="1107472"/>
                    </a:lnTo>
                    <a:cubicBezTo>
                      <a:pt x="1866129" y="1112529"/>
                      <a:pt x="1855309" y="1113025"/>
                      <a:pt x="1845936" y="1108805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3" name="Google Shape;143;p12"/>
              <p:cNvSpPr/>
              <p:nvPr/>
            </p:nvSpPr>
            <p:spPr>
              <a:xfrm>
                <a:off x="4501288" y="3792632"/>
                <a:ext cx="1451798" cy="838156"/>
              </a:xfrm>
              <a:custGeom>
                <a:avLst/>
                <a:gdLst/>
                <a:ahLst/>
                <a:cxnLst/>
                <a:rect l="l" t="t" r="r" b="b"/>
                <a:pathLst>
                  <a:path w="1451798" h="838156" extrusionOk="0">
                    <a:moveTo>
                      <a:pt x="1450884" y="524573"/>
                    </a:moveTo>
                    <a:cubicBezTo>
                      <a:pt x="1448283" y="530298"/>
                      <a:pt x="1443816" y="534965"/>
                      <a:pt x="1438216" y="537813"/>
                    </a:cubicBezTo>
                    <a:lnTo>
                      <a:pt x="931581" y="830231"/>
                    </a:lnTo>
                    <a:cubicBezTo>
                      <a:pt x="914321" y="839889"/>
                      <a:pt x="893500" y="840766"/>
                      <a:pt x="875479" y="832612"/>
                    </a:cubicBezTo>
                    <a:lnTo>
                      <a:pt x="9751" y="332740"/>
                    </a:lnTo>
                    <a:cubicBezTo>
                      <a:pt x="5808" y="330683"/>
                      <a:pt x="2709" y="327311"/>
                      <a:pt x="988" y="323215"/>
                    </a:cubicBezTo>
                    <a:cubicBezTo>
                      <a:pt x="-2155" y="315595"/>
                      <a:pt x="2226" y="306641"/>
                      <a:pt x="13752" y="299974"/>
                    </a:cubicBezTo>
                    <a:lnTo>
                      <a:pt x="520387" y="7842"/>
                    </a:lnTo>
                    <a:cubicBezTo>
                      <a:pt x="537674" y="-1740"/>
                      <a:pt x="558477" y="-2588"/>
                      <a:pt x="576489" y="5556"/>
                    </a:cubicBezTo>
                    <a:lnTo>
                      <a:pt x="1442311" y="505428"/>
                    </a:lnTo>
                    <a:cubicBezTo>
                      <a:pt x="1449874" y="508438"/>
                      <a:pt x="1453675" y="516925"/>
                      <a:pt x="1450884" y="524573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4" name="Google Shape;144;p12"/>
              <p:cNvSpPr/>
              <p:nvPr/>
            </p:nvSpPr>
            <p:spPr>
              <a:xfrm>
                <a:off x="4502277" y="3802740"/>
                <a:ext cx="1449895" cy="828048"/>
              </a:xfrm>
              <a:custGeom>
                <a:avLst/>
                <a:gdLst/>
                <a:ahLst/>
                <a:cxnLst/>
                <a:rect l="l" t="t" r="r" b="b"/>
                <a:pathLst>
                  <a:path w="1449895" h="828048" extrusionOk="0">
                    <a:moveTo>
                      <a:pt x="1449896" y="514465"/>
                    </a:moveTo>
                    <a:cubicBezTo>
                      <a:pt x="1447295" y="520190"/>
                      <a:pt x="1442828" y="524857"/>
                      <a:pt x="1437227" y="527705"/>
                    </a:cubicBezTo>
                    <a:lnTo>
                      <a:pt x="930593" y="820123"/>
                    </a:lnTo>
                    <a:cubicBezTo>
                      <a:pt x="913333" y="829781"/>
                      <a:pt x="892512" y="830657"/>
                      <a:pt x="874490" y="822504"/>
                    </a:cubicBezTo>
                    <a:lnTo>
                      <a:pt x="8763" y="322632"/>
                    </a:lnTo>
                    <a:cubicBezTo>
                      <a:pt x="4820" y="320575"/>
                      <a:pt x="1720" y="317203"/>
                      <a:pt x="0" y="313107"/>
                    </a:cubicBezTo>
                    <a:cubicBezTo>
                      <a:pt x="2669" y="307582"/>
                      <a:pt x="7089" y="303096"/>
                      <a:pt x="12573" y="300343"/>
                    </a:cubicBezTo>
                    <a:lnTo>
                      <a:pt x="519208" y="7926"/>
                    </a:lnTo>
                    <a:cubicBezTo>
                      <a:pt x="536467" y="-1732"/>
                      <a:pt x="557289" y="-2609"/>
                      <a:pt x="575310" y="5545"/>
                    </a:cubicBezTo>
                    <a:lnTo>
                      <a:pt x="1441323" y="505417"/>
                    </a:lnTo>
                    <a:cubicBezTo>
                      <a:pt x="1445095" y="507417"/>
                      <a:pt x="1448105" y="510598"/>
                      <a:pt x="1449896" y="514465"/>
                    </a:cubicBezTo>
                    <a:close/>
                  </a:path>
                </a:pathLst>
              </a:custGeom>
              <a:solidFill>
                <a:srgbClr val="C3C6D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5" name="Google Shape;145;p12"/>
              <p:cNvSpPr/>
              <p:nvPr/>
            </p:nvSpPr>
            <p:spPr>
              <a:xfrm>
                <a:off x="5378291" y="2993528"/>
                <a:ext cx="1867947" cy="1123828"/>
              </a:xfrm>
              <a:custGeom>
                <a:avLst/>
                <a:gdLst/>
                <a:ahLst/>
                <a:cxnLst/>
                <a:rect l="l" t="t" r="r" b="b"/>
                <a:pathLst>
                  <a:path w="1867947" h="1123828" extrusionOk="0">
                    <a:moveTo>
                      <a:pt x="1854422" y="1122224"/>
                    </a:moveTo>
                    <a:lnTo>
                      <a:pt x="13526" y="59425"/>
                    </a:lnTo>
                    <a:cubicBezTo>
                      <a:pt x="5191" y="53395"/>
                      <a:pt x="181" y="43804"/>
                      <a:pt x="0" y="33517"/>
                    </a:cubicBezTo>
                    <a:lnTo>
                      <a:pt x="0" y="11895"/>
                    </a:lnTo>
                    <a:cubicBezTo>
                      <a:pt x="0" y="1894"/>
                      <a:pt x="6096" y="-2678"/>
                      <a:pt x="13526" y="1608"/>
                    </a:cubicBezTo>
                    <a:lnTo>
                      <a:pt x="1854422" y="1064122"/>
                    </a:lnTo>
                    <a:cubicBezTo>
                      <a:pt x="1862804" y="1070103"/>
                      <a:pt x="1867833" y="1079733"/>
                      <a:pt x="1867948" y="1090030"/>
                    </a:cubicBezTo>
                    <a:lnTo>
                      <a:pt x="1867948" y="1111747"/>
                    </a:lnTo>
                    <a:cubicBezTo>
                      <a:pt x="1867948" y="1121938"/>
                      <a:pt x="1861947" y="1126510"/>
                      <a:pt x="1854422" y="1122224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6" name="Google Shape;146;p12"/>
              <p:cNvSpPr/>
              <p:nvPr/>
            </p:nvSpPr>
            <p:spPr>
              <a:xfrm>
                <a:off x="5482399" y="1596347"/>
                <a:ext cx="657230" cy="440903"/>
              </a:xfrm>
              <a:custGeom>
                <a:avLst/>
                <a:gdLst/>
                <a:ahLst/>
                <a:cxnLst/>
                <a:rect l="l" t="t" r="r" b="b"/>
                <a:pathLst>
                  <a:path w="657230" h="440903" extrusionOk="0">
                    <a:moveTo>
                      <a:pt x="647700" y="439716"/>
                    </a:moveTo>
                    <a:lnTo>
                      <a:pt x="9525" y="71480"/>
                    </a:lnTo>
                    <a:cubicBezTo>
                      <a:pt x="3610" y="67173"/>
                      <a:pt x="76" y="60320"/>
                      <a:pt x="0" y="53001"/>
                    </a:cubicBezTo>
                    <a:lnTo>
                      <a:pt x="0" y="8520"/>
                    </a:lnTo>
                    <a:cubicBezTo>
                      <a:pt x="0" y="1376"/>
                      <a:pt x="4381" y="-1958"/>
                      <a:pt x="9525" y="1185"/>
                    </a:cubicBezTo>
                    <a:lnTo>
                      <a:pt x="647700" y="369422"/>
                    </a:lnTo>
                    <a:cubicBezTo>
                      <a:pt x="653615" y="373729"/>
                      <a:pt x="657149" y="380581"/>
                      <a:pt x="657225" y="387900"/>
                    </a:cubicBezTo>
                    <a:lnTo>
                      <a:pt x="657225" y="432477"/>
                    </a:lnTo>
                    <a:cubicBezTo>
                      <a:pt x="657416" y="439526"/>
                      <a:pt x="653034" y="442860"/>
                      <a:pt x="647700" y="439716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7" name="Google Shape;147;p12"/>
              <p:cNvSpPr/>
              <p:nvPr/>
            </p:nvSpPr>
            <p:spPr>
              <a:xfrm>
                <a:off x="5485731" y="1725601"/>
                <a:ext cx="490070" cy="322282"/>
              </a:xfrm>
              <a:custGeom>
                <a:avLst/>
                <a:gdLst/>
                <a:ahLst/>
                <a:cxnLst/>
                <a:rect l="l" t="t" r="r" b="b"/>
                <a:pathLst>
                  <a:path w="490070" h="322282" extrusionOk="0">
                    <a:moveTo>
                      <a:pt x="480538" y="321130"/>
                    </a:moveTo>
                    <a:lnTo>
                      <a:pt x="9527" y="49191"/>
                    </a:lnTo>
                    <a:cubicBezTo>
                      <a:pt x="3460" y="44756"/>
                      <a:pt x="-93" y="37658"/>
                      <a:pt x="2" y="30141"/>
                    </a:cubicBezTo>
                    <a:lnTo>
                      <a:pt x="2" y="8520"/>
                    </a:lnTo>
                    <a:cubicBezTo>
                      <a:pt x="2" y="1376"/>
                      <a:pt x="4288" y="-1958"/>
                      <a:pt x="9527" y="1185"/>
                    </a:cubicBezTo>
                    <a:lnTo>
                      <a:pt x="480538" y="273124"/>
                    </a:lnTo>
                    <a:cubicBezTo>
                      <a:pt x="486606" y="277563"/>
                      <a:pt x="490158" y="284659"/>
                      <a:pt x="490063" y="292174"/>
                    </a:cubicBezTo>
                    <a:lnTo>
                      <a:pt x="490063" y="314272"/>
                    </a:lnTo>
                    <a:cubicBezTo>
                      <a:pt x="490254" y="320940"/>
                      <a:pt x="486444" y="324178"/>
                      <a:pt x="480538" y="32113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8" name="Google Shape;148;p12"/>
              <p:cNvSpPr/>
              <p:nvPr/>
            </p:nvSpPr>
            <p:spPr>
              <a:xfrm>
                <a:off x="5485731" y="1809557"/>
                <a:ext cx="490070" cy="322194"/>
              </a:xfrm>
              <a:custGeom>
                <a:avLst/>
                <a:gdLst/>
                <a:ahLst/>
                <a:cxnLst/>
                <a:rect l="l" t="t" r="r" b="b"/>
                <a:pathLst>
                  <a:path w="490070" h="322194" extrusionOk="0">
                    <a:moveTo>
                      <a:pt x="480538" y="321090"/>
                    </a:moveTo>
                    <a:lnTo>
                      <a:pt x="9527" y="49151"/>
                    </a:lnTo>
                    <a:cubicBezTo>
                      <a:pt x="3460" y="44715"/>
                      <a:pt x="-93" y="37618"/>
                      <a:pt x="2" y="30101"/>
                    </a:cubicBezTo>
                    <a:lnTo>
                      <a:pt x="2" y="8479"/>
                    </a:lnTo>
                    <a:cubicBezTo>
                      <a:pt x="2" y="1335"/>
                      <a:pt x="4288" y="-1903"/>
                      <a:pt x="9527" y="1145"/>
                    </a:cubicBezTo>
                    <a:lnTo>
                      <a:pt x="480538" y="273179"/>
                    </a:lnTo>
                    <a:cubicBezTo>
                      <a:pt x="486491" y="277456"/>
                      <a:pt x="490035" y="284323"/>
                      <a:pt x="490063" y="291657"/>
                    </a:cubicBezTo>
                    <a:lnTo>
                      <a:pt x="490063" y="313755"/>
                    </a:lnTo>
                    <a:cubicBezTo>
                      <a:pt x="490254" y="320899"/>
                      <a:pt x="486444" y="324042"/>
                      <a:pt x="480538" y="32109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9" name="Google Shape;149;p12"/>
              <p:cNvSpPr/>
              <p:nvPr/>
            </p:nvSpPr>
            <p:spPr>
              <a:xfrm>
                <a:off x="5485733" y="1893472"/>
                <a:ext cx="401289" cy="270998"/>
              </a:xfrm>
              <a:custGeom>
                <a:avLst/>
                <a:gdLst/>
                <a:ahLst/>
                <a:cxnLst/>
                <a:rect l="l" t="t" r="r" b="b"/>
                <a:pathLst>
                  <a:path w="401289" h="270998" extrusionOk="0">
                    <a:moveTo>
                      <a:pt x="391763" y="269845"/>
                    </a:moveTo>
                    <a:lnTo>
                      <a:pt x="9525" y="49627"/>
                    </a:lnTo>
                    <a:cubicBezTo>
                      <a:pt x="3572" y="45351"/>
                      <a:pt x="29" y="38479"/>
                      <a:pt x="0" y="31149"/>
                    </a:cubicBezTo>
                    <a:lnTo>
                      <a:pt x="0" y="8479"/>
                    </a:lnTo>
                    <a:cubicBezTo>
                      <a:pt x="0" y="1335"/>
                      <a:pt x="4286" y="-1903"/>
                      <a:pt x="9525" y="1145"/>
                    </a:cubicBezTo>
                    <a:lnTo>
                      <a:pt x="391763" y="221839"/>
                    </a:lnTo>
                    <a:cubicBezTo>
                      <a:pt x="397821" y="226287"/>
                      <a:pt x="401364" y="233374"/>
                      <a:pt x="401288" y="240889"/>
                    </a:cubicBezTo>
                    <a:lnTo>
                      <a:pt x="401288" y="262987"/>
                    </a:lnTo>
                    <a:cubicBezTo>
                      <a:pt x="401384" y="269655"/>
                      <a:pt x="397097" y="272893"/>
                      <a:pt x="391763" y="26984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0" name="Google Shape;150;p12"/>
              <p:cNvSpPr/>
              <p:nvPr/>
            </p:nvSpPr>
            <p:spPr>
              <a:xfrm>
                <a:off x="5482398" y="2477545"/>
                <a:ext cx="657231" cy="440923"/>
              </a:xfrm>
              <a:custGeom>
                <a:avLst/>
                <a:gdLst/>
                <a:ahLst/>
                <a:cxnLst/>
                <a:rect l="l" t="t" r="r" b="b"/>
                <a:pathLst>
                  <a:path w="657231" h="440923" extrusionOk="0">
                    <a:moveTo>
                      <a:pt x="647701" y="439771"/>
                    </a:moveTo>
                    <a:lnTo>
                      <a:pt x="9526" y="71535"/>
                    </a:lnTo>
                    <a:cubicBezTo>
                      <a:pt x="3477" y="67077"/>
                      <a:pt x="-56" y="59990"/>
                      <a:pt x="1" y="52485"/>
                    </a:cubicBezTo>
                    <a:lnTo>
                      <a:pt x="1" y="8479"/>
                    </a:lnTo>
                    <a:cubicBezTo>
                      <a:pt x="1" y="1335"/>
                      <a:pt x="4382" y="-1903"/>
                      <a:pt x="9526" y="1145"/>
                    </a:cubicBezTo>
                    <a:lnTo>
                      <a:pt x="647701" y="369381"/>
                    </a:lnTo>
                    <a:cubicBezTo>
                      <a:pt x="653749" y="373839"/>
                      <a:pt x="657283" y="380926"/>
                      <a:pt x="657226" y="388431"/>
                    </a:cubicBezTo>
                    <a:lnTo>
                      <a:pt x="657226" y="432913"/>
                    </a:lnTo>
                    <a:cubicBezTo>
                      <a:pt x="657416" y="439581"/>
                      <a:pt x="653035" y="442819"/>
                      <a:pt x="647701" y="439771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1" name="Google Shape;151;p12"/>
              <p:cNvSpPr/>
              <p:nvPr/>
            </p:nvSpPr>
            <p:spPr>
              <a:xfrm>
                <a:off x="5485733" y="2606854"/>
                <a:ext cx="490068" cy="322274"/>
              </a:xfrm>
              <a:custGeom>
                <a:avLst/>
                <a:gdLst/>
                <a:ahLst/>
                <a:cxnLst/>
                <a:rect l="l" t="t" r="r" b="b"/>
                <a:pathLst>
                  <a:path w="490068" h="322274" extrusionOk="0">
                    <a:moveTo>
                      <a:pt x="480536" y="321130"/>
                    </a:moveTo>
                    <a:lnTo>
                      <a:pt x="9525" y="49096"/>
                    </a:lnTo>
                    <a:cubicBezTo>
                      <a:pt x="3572" y="44819"/>
                      <a:pt x="29" y="37952"/>
                      <a:pt x="0" y="30618"/>
                    </a:cubicBezTo>
                    <a:lnTo>
                      <a:pt x="0" y="8520"/>
                    </a:lnTo>
                    <a:cubicBezTo>
                      <a:pt x="0" y="1376"/>
                      <a:pt x="4286" y="-1958"/>
                      <a:pt x="9525" y="1185"/>
                    </a:cubicBezTo>
                    <a:lnTo>
                      <a:pt x="480536" y="273124"/>
                    </a:lnTo>
                    <a:cubicBezTo>
                      <a:pt x="486470" y="277420"/>
                      <a:pt x="490004" y="284278"/>
                      <a:pt x="490061" y="291603"/>
                    </a:cubicBezTo>
                    <a:lnTo>
                      <a:pt x="490061" y="313796"/>
                    </a:lnTo>
                    <a:cubicBezTo>
                      <a:pt x="490252" y="320940"/>
                      <a:pt x="486442" y="324178"/>
                      <a:pt x="480536" y="32113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2" name="Google Shape;152;p12"/>
              <p:cNvSpPr/>
              <p:nvPr/>
            </p:nvSpPr>
            <p:spPr>
              <a:xfrm>
                <a:off x="5485733" y="2690770"/>
                <a:ext cx="490068" cy="322283"/>
              </a:xfrm>
              <a:custGeom>
                <a:avLst/>
                <a:gdLst/>
                <a:ahLst/>
                <a:cxnLst/>
                <a:rect l="l" t="t" r="r" b="b"/>
                <a:pathLst>
                  <a:path w="490068" h="322283" extrusionOk="0">
                    <a:moveTo>
                      <a:pt x="480536" y="321130"/>
                    </a:moveTo>
                    <a:lnTo>
                      <a:pt x="9525" y="49191"/>
                    </a:lnTo>
                    <a:cubicBezTo>
                      <a:pt x="3591" y="44858"/>
                      <a:pt x="57" y="37971"/>
                      <a:pt x="0" y="30618"/>
                    </a:cubicBezTo>
                    <a:lnTo>
                      <a:pt x="0" y="8520"/>
                    </a:lnTo>
                    <a:cubicBezTo>
                      <a:pt x="0" y="1376"/>
                      <a:pt x="4286" y="-1958"/>
                      <a:pt x="9525" y="1185"/>
                    </a:cubicBezTo>
                    <a:lnTo>
                      <a:pt x="480536" y="273124"/>
                    </a:lnTo>
                    <a:cubicBezTo>
                      <a:pt x="486604" y="277563"/>
                      <a:pt x="490157" y="284659"/>
                      <a:pt x="490061" y="292174"/>
                    </a:cubicBezTo>
                    <a:lnTo>
                      <a:pt x="490061" y="314272"/>
                    </a:lnTo>
                    <a:cubicBezTo>
                      <a:pt x="490252" y="320940"/>
                      <a:pt x="486442" y="324178"/>
                      <a:pt x="480536" y="32113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3" name="Google Shape;153;p12"/>
              <p:cNvSpPr/>
              <p:nvPr/>
            </p:nvSpPr>
            <p:spPr>
              <a:xfrm>
                <a:off x="5485733" y="2774725"/>
                <a:ext cx="401289" cy="271152"/>
              </a:xfrm>
              <a:custGeom>
                <a:avLst/>
                <a:gdLst/>
                <a:ahLst/>
                <a:cxnLst/>
                <a:rect l="l" t="t" r="r" b="b"/>
                <a:pathLst>
                  <a:path w="401289" h="271152" extrusionOk="0">
                    <a:moveTo>
                      <a:pt x="391763" y="269845"/>
                    </a:moveTo>
                    <a:lnTo>
                      <a:pt x="9525" y="49151"/>
                    </a:lnTo>
                    <a:cubicBezTo>
                      <a:pt x="3591" y="44817"/>
                      <a:pt x="57" y="37931"/>
                      <a:pt x="0" y="30577"/>
                    </a:cubicBezTo>
                    <a:lnTo>
                      <a:pt x="0" y="8479"/>
                    </a:lnTo>
                    <a:cubicBezTo>
                      <a:pt x="0" y="1335"/>
                      <a:pt x="4286" y="-1903"/>
                      <a:pt x="9525" y="1145"/>
                    </a:cubicBezTo>
                    <a:lnTo>
                      <a:pt x="391763" y="221839"/>
                    </a:lnTo>
                    <a:cubicBezTo>
                      <a:pt x="397697" y="226135"/>
                      <a:pt x="401231" y="232993"/>
                      <a:pt x="401288" y="240318"/>
                    </a:cubicBezTo>
                    <a:lnTo>
                      <a:pt x="401288" y="262511"/>
                    </a:lnTo>
                    <a:cubicBezTo>
                      <a:pt x="401384" y="269655"/>
                      <a:pt x="397097" y="273274"/>
                      <a:pt x="391763" y="26984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4" name="Google Shape;154;p12"/>
              <p:cNvSpPr/>
              <p:nvPr/>
            </p:nvSpPr>
            <p:spPr>
              <a:xfrm>
                <a:off x="6293929" y="2971606"/>
                <a:ext cx="893444" cy="828868"/>
              </a:xfrm>
              <a:custGeom>
                <a:avLst/>
                <a:gdLst/>
                <a:ahLst/>
                <a:cxnLst/>
                <a:rect l="l" t="t" r="r" b="b"/>
                <a:pathLst>
                  <a:path w="893444" h="828868" extrusionOk="0">
                    <a:moveTo>
                      <a:pt x="6858" y="55057"/>
                    </a:moveTo>
                    <a:cubicBezTo>
                      <a:pt x="6858" y="55057"/>
                      <a:pt x="77248" y="114113"/>
                      <a:pt x="178784" y="33436"/>
                    </a:cubicBezTo>
                    <a:cubicBezTo>
                      <a:pt x="251365" y="-26096"/>
                      <a:pt x="316230" y="7909"/>
                      <a:pt x="352330" y="28483"/>
                    </a:cubicBezTo>
                    <a:cubicBezTo>
                      <a:pt x="388430" y="49057"/>
                      <a:pt x="441007" y="61344"/>
                      <a:pt x="540068" y="240795"/>
                    </a:cubicBezTo>
                    <a:cubicBezTo>
                      <a:pt x="561489" y="276076"/>
                      <a:pt x="590845" y="305889"/>
                      <a:pt x="625793" y="327853"/>
                    </a:cubicBezTo>
                    <a:cubicBezTo>
                      <a:pt x="679228" y="358619"/>
                      <a:pt x="704850" y="343665"/>
                      <a:pt x="746855" y="280228"/>
                    </a:cubicBezTo>
                    <a:cubicBezTo>
                      <a:pt x="788861" y="216792"/>
                      <a:pt x="816293" y="146878"/>
                      <a:pt x="893445" y="192598"/>
                    </a:cubicBezTo>
                    <a:lnTo>
                      <a:pt x="893445" y="828868"/>
                    </a:lnTo>
                    <a:lnTo>
                      <a:pt x="0" y="313090"/>
                    </a:lnTo>
                    <a:lnTo>
                      <a:pt x="0" y="50867"/>
                    </a:lnTo>
                    <a:close/>
                  </a:path>
                </a:pathLst>
              </a:custGeom>
              <a:solidFill>
                <a:srgbClr val="F5F6F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5" name="Google Shape;155;p12"/>
              <p:cNvSpPr/>
              <p:nvPr/>
            </p:nvSpPr>
            <p:spPr>
              <a:xfrm>
                <a:off x="5485733" y="2024441"/>
                <a:ext cx="630461" cy="733619"/>
              </a:xfrm>
              <a:custGeom>
                <a:avLst/>
                <a:gdLst/>
                <a:ahLst/>
                <a:cxnLst/>
                <a:rect l="l" t="t" r="r" b="b"/>
                <a:pathLst>
                  <a:path w="630461" h="733619" extrusionOk="0">
                    <a:moveTo>
                      <a:pt x="620935" y="732474"/>
                    </a:moveTo>
                    <a:lnTo>
                      <a:pt x="9525" y="379478"/>
                    </a:lnTo>
                    <a:cubicBezTo>
                      <a:pt x="3591" y="375144"/>
                      <a:pt x="57" y="368257"/>
                      <a:pt x="0" y="360904"/>
                    </a:cubicBezTo>
                    <a:lnTo>
                      <a:pt x="0" y="8479"/>
                    </a:lnTo>
                    <a:cubicBezTo>
                      <a:pt x="0" y="1335"/>
                      <a:pt x="4286" y="-1903"/>
                      <a:pt x="9525" y="1145"/>
                    </a:cubicBezTo>
                    <a:lnTo>
                      <a:pt x="620935" y="354141"/>
                    </a:lnTo>
                    <a:cubicBezTo>
                      <a:pt x="626859" y="358485"/>
                      <a:pt x="630384" y="365371"/>
                      <a:pt x="630460" y="372715"/>
                    </a:cubicBezTo>
                    <a:lnTo>
                      <a:pt x="630460" y="725140"/>
                    </a:lnTo>
                    <a:cubicBezTo>
                      <a:pt x="630555" y="732284"/>
                      <a:pt x="626269" y="735522"/>
                      <a:pt x="620935" y="732474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6" name="Google Shape;156;p12"/>
              <p:cNvSpPr/>
              <p:nvPr/>
            </p:nvSpPr>
            <p:spPr>
              <a:xfrm>
                <a:off x="6293834" y="3011804"/>
                <a:ext cx="893445" cy="788955"/>
              </a:xfrm>
              <a:custGeom>
                <a:avLst/>
                <a:gdLst/>
                <a:ahLst/>
                <a:cxnLst/>
                <a:rect l="l" t="t" r="r" b="b"/>
                <a:pathLst>
                  <a:path w="893445" h="788955" extrusionOk="0">
                    <a:moveTo>
                      <a:pt x="0" y="0"/>
                    </a:moveTo>
                    <a:lnTo>
                      <a:pt x="0" y="273177"/>
                    </a:lnTo>
                    <a:lnTo>
                      <a:pt x="893445" y="788956"/>
                    </a:lnTo>
                    <a:lnTo>
                      <a:pt x="893445" y="152591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7" name="Google Shape;157;p12"/>
              <p:cNvSpPr/>
              <p:nvPr/>
            </p:nvSpPr>
            <p:spPr>
              <a:xfrm>
                <a:off x="6645021" y="3003137"/>
                <a:ext cx="9525" cy="483869"/>
              </a:xfrm>
              <a:custGeom>
                <a:avLst/>
                <a:gdLst/>
                <a:ahLst/>
                <a:cxnLst/>
                <a:rect l="l" t="t" r="r" b="b"/>
                <a:pathLst>
                  <a:path w="9525" h="483869" extrusionOk="0">
                    <a:moveTo>
                      <a:pt x="0" y="0"/>
                    </a:moveTo>
                    <a:lnTo>
                      <a:pt x="0" y="483870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8" name="Google Shape;158;p12"/>
              <p:cNvSpPr/>
              <p:nvPr/>
            </p:nvSpPr>
            <p:spPr>
              <a:xfrm>
                <a:off x="6918293" y="3309175"/>
                <a:ext cx="9525" cy="335661"/>
              </a:xfrm>
              <a:custGeom>
                <a:avLst/>
                <a:gdLst/>
                <a:ahLst/>
                <a:cxnLst/>
                <a:rect l="l" t="t" r="r" b="b"/>
                <a:pathLst>
                  <a:path w="9525" h="335661" extrusionOk="0">
                    <a:moveTo>
                      <a:pt x="0" y="0"/>
                    </a:moveTo>
                    <a:lnTo>
                      <a:pt x="0" y="335661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9" name="Google Shape;159;p12"/>
              <p:cNvSpPr/>
              <p:nvPr/>
            </p:nvSpPr>
            <p:spPr>
              <a:xfrm>
                <a:off x="6293834" y="2971929"/>
                <a:ext cx="893349" cy="341800"/>
              </a:xfrm>
              <a:custGeom>
                <a:avLst/>
                <a:gdLst/>
                <a:ahLst/>
                <a:cxnLst/>
                <a:rect l="l" t="t" r="r" b="b"/>
                <a:pathLst>
                  <a:path w="893349" h="341800" extrusionOk="0">
                    <a:moveTo>
                      <a:pt x="0" y="50543"/>
                    </a:moveTo>
                    <a:cubicBezTo>
                      <a:pt x="158496" y="148841"/>
                      <a:pt x="180975" y="-73282"/>
                      <a:pt x="353663" y="26350"/>
                    </a:cubicBezTo>
                    <a:cubicBezTo>
                      <a:pt x="526352" y="125981"/>
                      <a:pt x="502539" y="255997"/>
                      <a:pt x="629888" y="329626"/>
                    </a:cubicBezTo>
                    <a:cubicBezTo>
                      <a:pt x="757238" y="403254"/>
                      <a:pt x="760381" y="115694"/>
                      <a:pt x="893350" y="192466"/>
                    </a:cubicBezTo>
                  </a:path>
                </a:pathLst>
              </a:custGeom>
              <a:noFill/>
              <a:ln w="1037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0" name="Google Shape;160;p12"/>
              <p:cNvSpPr/>
              <p:nvPr/>
            </p:nvSpPr>
            <p:spPr>
              <a:xfrm rot="-1801764">
                <a:off x="6627823" y="2973379"/>
                <a:ext cx="34449" cy="59573"/>
              </a:xfrm>
              <a:custGeom>
                <a:avLst/>
                <a:gdLst/>
                <a:ahLst/>
                <a:cxnLst/>
                <a:rect l="l" t="t" r="r" b="b"/>
                <a:pathLst>
                  <a:path w="34480" h="59626" extrusionOk="0">
                    <a:moveTo>
                      <a:pt x="34481" y="29813"/>
                    </a:moveTo>
                    <a:cubicBezTo>
                      <a:pt x="34481" y="46279"/>
                      <a:pt x="26762" y="59626"/>
                      <a:pt x="17240" y="59626"/>
                    </a:cubicBezTo>
                    <a:cubicBezTo>
                      <a:pt x="7719" y="59626"/>
                      <a:pt x="0" y="46279"/>
                      <a:pt x="0" y="29813"/>
                    </a:cubicBezTo>
                    <a:cubicBezTo>
                      <a:pt x="0" y="13348"/>
                      <a:pt x="7719" y="0"/>
                      <a:pt x="17240" y="0"/>
                    </a:cubicBezTo>
                    <a:cubicBezTo>
                      <a:pt x="26762" y="0"/>
                      <a:pt x="34481" y="13348"/>
                      <a:pt x="34481" y="2981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1" name="Google Shape;161;p12"/>
              <p:cNvSpPr/>
              <p:nvPr/>
            </p:nvSpPr>
            <p:spPr>
              <a:xfrm rot="-1790023">
                <a:off x="7183546" y="3143044"/>
                <a:ext cx="34600" cy="59833"/>
              </a:xfrm>
              <a:custGeom>
                <a:avLst/>
                <a:gdLst/>
                <a:ahLst/>
                <a:cxnLst/>
                <a:rect l="l" t="t" r="r" b="b"/>
                <a:pathLst>
                  <a:path w="34599" h="59831" extrusionOk="0">
                    <a:moveTo>
                      <a:pt x="34601" y="29917"/>
                    </a:moveTo>
                    <a:cubicBezTo>
                      <a:pt x="34601" y="46439"/>
                      <a:pt x="26855" y="59833"/>
                      <a:pt x="17301" y="59833"/>
                    </a:cubicBezTo>
                    <a:cubicBezTo>
                      <a:pt x="7747" y="59833"/>
                      <a:pt x="2" y="46439"/>
                      <a:pt x="2" y="29917"/>
                    </a:cubicBezTo>
                    <a:cubicBezTo>
                      <a:pt x="2" y="13395"/>
                      <a:pt x="7747" y="1"/>
                      <a:pt x="17301" y="1"/>
                    </a:cubicBezTo>
                    <a:cubicBezTo>
                      <a:pt x="26855" y="1"/>
                      <a:pt x="34601" y="13395"/>
                      <a:pt x="34601" y="2991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2" name="Google Shape;162;p12"/>
              <p:cNvSpPr/>
              <p:nvPr/>
            </p:nvSpPr>
            <p:spPr>
              <a:xfrm rot="-1790023">
                <a:off x="6913571" y="3282356"/>
                <a:ext cx="34600" cy="59833"/>
              </a:xfrm>
              <a:custGeom>
                <a:avLst/>
                <a:gdLst/>
                <a:ahLst/>
                <a:cxnLst/>
                <a:rect l="l" t="t" r="r" b="b"/>
                <a:pathLst>
                  <a:path w="34599" h="59831" extrusionOk="0">
                    <a:moveTo>
                      <a:pt x="34601" y="29917"/>
                    </a:moveTo>
                    <a:cubicBezTo>
                      <a:pt x="34601" y="46439"/>
                      <a:pt x="26855" y="59833"/>
                      <a:pt x="17301" y="59833"/>
                    </a:cubicBezTo>
                    <a:cubicBezTo>
                      <a:pt x="7747" y="59833"/>
                      <a:pt x="2" y="46439"/>
                      <a:pt x="2" y="29917"/>
                    </a:cubicBezTo>
                    <a:cubicBezTo>
                      <a:pt x="2" y="13395"/>
                      <a:pt x="7747" y="1"/>
                      <a:pt x="17301" y="1"/>
                    </a:cubicBezTo>
                    <a:cubicBezTo>
                      <a:pt x="26855" y="1"/>
                      <a:pt x="34601" y="13395"/>
                      <a:pt x="34601" y="2991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3" name="Google Shape;163;p12"/>
              <p:cNvSpPr/>
              <p:nvPr/>
            </p:nvSpPr>
            <p:spPr>
              <a:xfrm rot="-1790023">
                <a:off x="6286614" y="3000522"/>
                <a:ext cx="34600" cy="59833"/>
              </a:xfrm>
              <a:custGeom>
                <a:avLst/>
                <a:gdLst/>
                <a:ahLst/>
                <a:cxnLst/>
                <a:rect l="l" t="t" r="r" b="b"/>
                <a:pathLst>
                  <a:path w="34599" h="59831" extrusionOk="0">
                    <a:moveTo>
                      <a:pt x="34600" y="29917"/>
                    </a:moveTo>
                    <a:cubicBezTo>
                      <a:pt x="34600" y="46439"/>
                      <a:pt x="26855" y="59833"/>
                      <a:pt x="17301" y="59833"/>
                    </a:cubicBezTo>
                    <a:cubicBezTo>
                      <a:pt x="7746" y="59833"/>
                      <a:pt x="1" y="46439"/>
                      <a:pt x="1" y="29917"/>
                    </a:cubicBezTo>
                    <a:cubicBezTo>
                      <a:pt x="1" y="13395"/>
                      <a:pt x="7746" y="1"/>
                      <a:pt x="17301" y="1"/>
                    </a:cubicBezTo>
                    <a:cubicBezTo>
                      <a:pt x="26855" y="1"/>
                      <a:pt x="34600" y="13395"/>
                      <a:pt x="34600" y="2991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4" name="Google Shape;164;p12"/>
              <p:cNvSpPr/>
              <p:nvPr/>
            </p:nvSpPr>
            <p:spPr>
              <a:xfrm>
                <a:off x="6272974" y="2328193"/>
                <a:ext cx="55632" cy="226128"/>
              </a:xfrm>
              <a:custGeom>
                <a:avLst/>
                <a:gdLst/>
                <a:ahLst/>
                <a:cxnLst/>
                <a:rect l="l" t="t" r="r" b="b"/>
                <a:pathLst>
                  <a:path w="55632" h="226128" extrusionOk="0">
                    <a:moveTo>
                      <a:pt x="46101" y="224982"/>
                    </a:moveTo>
                    <a:lnTo>
                      <a:pt x="9525" y="203837"/>
                    </a:lnTo>
                    <a:cubicBezTo>
                      <a:pt x="3610" y="199532"/>
                      <a:pt x="76" y="192674"/>
                      <a:pt x="0" y="185358"/>
                    </a:cubicBezTo>
                    <a:lnTo>
                      <a:pt x="0" y="8479"/>
                    </a:lnTo>
                    <a:cubicBezTo>
                      <a:pt x="0" y="1335"/>
                      <a:pt x="4382" y="-1903"/>
                      <a:pt x="9525" y="1145"/>
                    </a:cubicBezTo>
                    <a:lnTo>
                      <a:pt x="46101" y="22290"/>
                    </a:lnTo>
                    <a:cubicBezTo>
                      <a:pt x="52007" y="26605"/>
                      <a:pt x="55541" y="33454"/>
                      <a:pt x="55626" y="40769"/>
                    </a:cubicBezTo>
                    <a:lnTo>
                      <a:pt x="55626" y="217743"/>
                    </a:lnTo>
                    <a:cubicBezTo>
                      <a:pt x="55817" y="224506"/>
                      <a:pt x="51626" y="228126"/>
                      <a:pt x="46101" y="224982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5" name="Google Shape;165;p12"/>
              <p:cNvSpPr/>
              <p:nvPr/>
            </p:nvSpPr>
            <p:spPr>
              <a:xfrm>
                <a:off x="6357270" y="2193891"/>
                <a:ext cx="55722" cy="409197"/>
              </a:xfrm>
              <a:custGeom>
                <a:avLst/>
                <a:gdLst/>
                <a:ahLst/>
                <a:cxnLst/>
                <a:rect l="l" t="t" r="r" b="b"/>
                <a:pathLst>
                  <a:path w="55722" h="409197" extrusionOk="0">
                    <a:moveTo>
                      <a:pt x="46196" y="408053"/>
                    </a:moveTo>
                    <a:lnTo>
                      <a:pt x="9525" y="387384"/>
                    </a:lnTo>
                    <a:cubicBezTo>
                      <a:pt x="3620" y="383031"/>
                      <a:pt x="86" y="376154"/>
                      <a:pt x="0" y="368810"/>
                    </a:cubicBezTo>
                    <a:lnTo>
                      <a:pt x="0" y="8479"/>
                    </a:lnTo>
                    <a:cubicBezTo>
                      <a:pt x="0" y="1335"/>
                      <a:pt x="4382" y="-1903"/>
                      <a:pt x="9525" y="1145"/>
                    </a:cubicBezTo>
                    <a:lnTo>
                      <a:pt x="46196" y="22290"/>
                    </a:lnTo>
                    <a:cubicBezTo>
                      <a:pt x="52254" y="26739"/>
                      <a:pt x="55797" y="33825"/>
                      <a:pt x="55721" y="41340"/>
                    </a:cubicBezTo>
                    <a:lnTo>
                      <a:pt x="55721" y="400719"/>
                    </a:lnTo>
                    <a:cubicBezTo>
                      <a:pt x="55817" y="407862"/>
                      <a:pt x="51530" y="411101"/>
                      <a:pt x="46196" y="40805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6" name="Google Shape;166;p12"/>
              <p:cNvSpPr/>
              <p:nvPr/>
            </p:nvSpPr>
            <p:spPr>
              <a:xfrm>
                <a:off x="6526149" y="2326193"/>
                <a:ext cx="55625" cy="374240"/>
              </a:xfrm>
              <a:custGeom>
                <a:avLst/>
                <a:gdLst/>
                <a:ahLst/>
                <a:cxnLst/>
                <a:rect l="l" t="t" r="r" b="b"/>
                <a:pathLst>
                  <a:path w="55625" h="374240" extrusionOk="0">
                    <a:moveTo>
                      <a:pt x="46101" y="373096"/>
                    </a:moveTo>
                    <a:lnTo>
                      <a:pt x="9525" y="351951"/>
                    </a:lnTo>
                    <a:cubicBezTo>
                      <a:pt x="3591" y="347617"/>
                      <a:pt x="57" y="340730"/>
                      <a:pt x="0" y="333377"/>
                    </a:cubicBezTo>
                    <a:lnTo>
                      <a:pt x="0" y="8479"/>
                    </a:lnTo>
                    <a:cubicBezTo>
                      <a:pt x="0" y="1335"/>
                      <a:pt x="4286" y="-1903"/>
                      <a:pt x="9525" y="1145"/>
                    </a:cubicBezTo>
                    <a:lnTo>
                      <a:pt x="46101" y="22290"/>
                    </a:lnTo>
                    <a:cubicBezTo>
                      <a:pt x="52006" y="26643"/>
                      <a:pt x="55540" y="33520"/>
                      <a:pt x="55626" y="40864"/>
                    </a:cubicBezTo>
                    <a:lnTo>
                      <a:pt x="55626" y="365762"/>
                    </a:lnTo>
                    <a:cubicBezTo>
                      <a:pt x="55626" y="372906"/>
                      <a:pt x="51245" y="376144"/>
                      <a:pt x="46101" y="373096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7" name="Google Shape;167;p12"/>
              <p:cNvSpPr/>
              <p:nvPr/>
            </p:nvSpPr>
            <p:spPr>
              <a:xfrm>
                <a:off x="6610350" y="2430587"/>
                <a:ext cx="55627" cy="318519"/>
              </a:xfrm>
              <a:custGeom>
                <a:avLst/>
                <a:gdLst/>
                <a:ahLst/>
                <a:cxnLst/>
                <a:rect l="l" t="t" r="r" b="b"/>
                <a:pathLst>
                  <a:path w="55627" h="318519" extrusionOk="0">
                    <a:moveTo>
                      <a:pt x="46006" y="317375"/>
                    </a:moveTo>
                    <a:lnTo>
                      <a:pt x="9525" y="296229"/>
                    </a:lnTo>
                    <a:cubicBezTo>
                      <a:pt x="3620" y="291915"/>
                      <a:pt x="86" y="285066"/>
                      <a:pt x="0" y="277751"/>
                    </a:cubicBezTo>
                    <a:lnTo>
                      <a:pt x="0" y="8479"/>
                    </a:lnTo>
                    <a:cubicBezTo>
                      <a:pt x="0" y="1335"/>
                      <a:pt x="4381" y="-1903"/>
                      <a:pt x="9525" y="1145"/>
                    </a:cubicBezTo>
                    <a:lnTo>
                      <a:pt x="46101" y="22290"/>
                    </a:lnTo>
                    <a:cubicBezTo>
                      <a:pt x="52035" y="26624"/>
                      <a:pt x="55569" y="33511"/>
                      <a:pt x="55626" y="40864"/>
                    </a:cubicBezTo>
                    <a:lnTo>
                      <a:pt x="55626" y="310041"/>
                    </a:lnTo>
                    <a:cubicBezTo>
                      <a:pt x="55721" y="317184"/>
                      <a:pt x="51435" y="320423"/>
                      <a:pt x="46006" y="31737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8" name="Google Shape;168;p12"/>
              <p:cNvSpPr/>
              <p:nvPr/>
            </p:nvSpPr>
            <p:spPr>
              <a:xfrm>
                <a:off x="6778179" y="2662902"/>
                <a:ext cx="55632" cy="183161"/>
              </a:xfrm>
              <a:custGeom>
                <a:avLst/>
                <a:gdLst/>
                <a:ahLst/>
                <a:cxnLst/>
                <a:rect l="l" t="t" r="r" b="b"/>
                <a:pathLst>
                  <a:path w="55632" h="183161" extrusionOk="0">
                    <a:moveTo>
                      <a:pt x="46102" y="182025"/>
                    </a:moveTo>
                    <a:lnTo>
                      <a:pt x="9526" y="160879"/>
                    </a:lnTo>
                    <a:cubicBezTo>
                      <a:pt x="3477" y="156421"/>
                      <a:pt x="-56" y="149335"/>
                      <a:pt x="1" y="141829"/>
                    </a:cubicBezTo>
                    <a:lnTo>
                      <a:pt x="1" y="8479"/>
                    </a:lnTo>
                    <a:cubicBezTo>
                      <a:pt x="1" y="1335"/>
                      <a:pt x="4382" y="-1903"/>
                      <a:pt x="9526" y="1145"/>
                    </a:cubicBezTo>
                    <a:lnTo>
                      <a:pt x="46102" y="22290"/>
                    </a:lnTo>
                    <a:cubicBezTo>
                      <a:pt x="52036" y="26624"/>
                      <a:pt x="55570" y="33511"/>
                      <a:pt x="55627" y="40864"/>
                    </a:cubicBezTo>
                    <a:lnTo>
                      <a:pt x="55627" y="174214"/>
                    </a:lnTo>
                    <a:cubicBezTo>
                      <a:pt x="55817" y="181834"/>
                      <a:pt x="51245" y="185073"/>
                      <a:pt x="46102" y="182025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9" name="Google Shape;169;p12"/>
              <p:cNvSpPr/>
              <p:nvPr/>
            </p:nvSpPr>
            <p:spPr>
              <a:xfrm>
                <a:off x="6862476" y="2392923"/>
                <a:ext cx="55722" cy="501818"/>
              </a:xfrm>
              <a:custGeom>
                <a:avLst/>
                <a:gdLst/>
                <a:ahLst/>
                <a:cxnLst/>
                <a:rect l="l" t="t" r="r" b="b"/>
                <a:pathLst>
                  <a:path w="55722" h="501818" extrusionOk="0">
                    <a:moveTo>
                      <a:pt x="46196" y="500676"/>
                    </a:moveTo>
                    <a:lnTo>
                      <a:pt x="9525" y="479531"/>
                    </a:lnTo>
                    <a:cubicBezTo>
                      <a:pt x="3620" y="475178"/>
                      <a:pt x="86" y="468301"/>
                      <a:pt x="0" y="460957"/>
                    </a:cubicBezTo>
                    <a:lnTo>
                      <a:pt x="0" y="8520"/>
                    </a:lnTo>
                    <a:cubicBezTo>
                      <a:pt x="0" y="1376"/>
                      <a:pt x="4381" y="-1958"/>
                      <a:pt x="9525" y="1185"/>
                    </a:cubicBezTo>
                    <a:lnTo>
                      <a:pt x="46196" y="22331"/>
                    </a:lnTo>
                    <a:cubicBezTo>
                      <a:pt x="52130" y="26627"/>
                      <a:pt x="55664" y="33485"/>
                      <a:pt x="55721" y="40809"/>
                    </a:cubicBezTo>
                    <a:lnTo>
                      <a:pt x="55721" y="493152"/>
                    </a:lnTo>
                    <a:cubicBezTo>
                      <a:pt x="55816" y="500486"/>
                      <a:pt x="51530" y="503724"/>
                      <a:pt x="46196" y="500676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0" name="Google Shape;170;p12"/>
              <p:cNvSpPr/>
              <p:nvPr/>
            </p:nvSpPr>
            <p:spPr>
              <a:xfrm>
                <a:off x="7068216" y="2830406"/>
                <a:ext cx="55722" cy="183106"/>
              </a:xfrm>
              <a:custGeom>
                <a:avLst/>
                <a:gdLst/>
                <a:ahLst/>
                <a:cxnLst/>
                <a:rect l="l" t="t" r="r" b="b"/>
                <a:pathLst>
                  <a:path w="55722" h="183106" extrusionOk="0">
                    <a:moveTo>
                      <a:pt x="46196" y="181970"/>
                    </a:moveTo>
                    <a:lnTo>
                      <a:pt x="9525" y="160443"/>
                    </a:lnTo>
                    <a:cubicBezTo>
                      <a:pt x="3620" y="156090"/>
                      <a:pt x="86" y="149213"/>
                      <a:pt x="0" y="141870"/>
                    </a:cubicBezTo>
                    <a:lnTo>
                      <a:pt x="0" y="8520"/>
                    </a:lnTo>
                    <a:cubicBezTo>
                      <a:pt x="0" y="1376"/>
                      <a:pt x="4381" y="-1958"/>
                      <a:pt x="9525" y="1185"/>
                    </a:cubicBezTo>
                    <a:lnTo>
                      <a:pt x="46196" y="22331"/>
                    </a:lnTo>
                    <a:cubicBezTo>
                      <a:pt x="52130" y="26627"/>
                      <a:pt x="55664" y="33485"/>
                      <a:pt x="55721" y="40809"/>
                    </a:cubicBezTo>
                    <a:lnTo>
                      <a:pt x="55721" y="174159"/>
                    </a:lnTo>
                    <a:cubicBezTo>
                      <a:pt x="55816" y="181779"/>
                      <a:pt x="51530" y="185018"/>
                      <a:pt x="46196" y="18197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1" name="Google Shape;171;p12"/>
              <p:cNvSpPr/>
              <p:nvPr/>
            </p:nvSpPr>
            <p:spPr>
              <a:xfrm>
                <a:off x="7152513" y="2836026"/>
                <a:ext cx="55727" cy="226167"/>
              </a:xfrm>
              <a:custGeom>
                <a:avLst/>
                <a:gdLst/>
                <a:ahLst/>
                <a:cxnLst/>
                <a:rect l="l" t="t" r="r" b="b"/>
                <a:pathLst>
                  <a:path w="55727" h="226167" extrusionOk="0">
                    <a:moveTo>
                      <a:pt x="46196" y="225023"/>
                    </a:moveTo>
                    <a:lnTo>
                      <a:pt x="9525" y="203877"/>
                    </a:lnTo>
                    <a:cubicBezTo>
                      <a:pt x="3591" y="199582"/>
                      <a:pt x="57" y="192724"/>
                      <a:pt x="0" y="185399"/>
                    </a:cubicBezTo>
                    <a:lnTo>
                      <a:pt x="0" y="8520"/>
                    </a:lnTo>
                    <a:cubicBezTo>
                      <a:pt x="0" y="1376"/>
                      <a:pt x="4286" y="-1958"/>
                      <a:pt x="9525" y="1185"/>
                    </a:cubicBezTo>
                    <a:lnTo>
                      <a:pt x="46196" y="22331"/>
                    </a:lnTo>
                    <a:cubicBezTo>
                      <a:pt x="52111" y="26636"/>
                      <a:pt x="55645" y="33494"/>
                      <a:pt x="55721" y="40809"/>
                    </a:cubicBezTo>
                    <a:lnTo>
                      <a:pt x="55721" y="217689"/>
                    </a:lnTo>
                    <a:cubicBezTo>
                      <a:pt x="55912" y="224832"/>
                      <a:pt x="51530" y="228071"/>
                      <a:pt x="46196" y="22502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172" name="Google Shape;172;p12"/>
            <p:cNvSpPr/>
            <p:nvPr/>
          </p:nvSpPr>
          <p:spPr>
            <a:xfrm>
              <a:off x="6986665" y="3342725"/>
              <a:ext cx="1789199" cy="1033007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942784" y="1292066"/>
                  </a:moveTo>
                  <a:lnTo>
                    <a:pt x="0" y="747713"/>
                  </a:lnTo>
                  <a:lnTo>
                    <a:pt x="1295114" y="0"/>
                  </a:lnTo>
                  <a:lnTo>
                    <a:pt x="2237899" y="544259"/>
                  </a:lnTo>
                  <a:lnTo>
                    <a:pt x="942784" y="1292066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3" name="Google Shape;173;p12"/>
            <p:cNvSpPr/>
            <p:nvPr/>
          </p:nvSpPr>
          <p:spPr>
            <a:xfrm>
              <a:off x="7014156" y="3327342"/>
              <a:ext cx="1789199" cy="1033007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2206847" y="526447"/>
                  </a:moveTo>
                  <a:lnTo>
                    <a:pt x="1295210" y="0"/>
                  </a:lnTo>
                  <a:lnTo>
                    <a:pt x="31052" y="729901"/>
                  </a:lnTo>
                  <a:lnTo>
                    <a:pt x="0" y="711994"/>
                  </a:lnTo>
                  <a:lnTo>
                    <a:pt x="0" y="747808"/>
                  </a:lnTo>
                  <a:lnTo>
                    <a:pt x="942785" y="1292066"/>
                  </a:lnTo>
                  <a:lnTo>
                    <a:pt x="2237899" y="544354"/>
                  </a:lnTo>
                  <a:lnTo>
                    <a:pt x="2237899" y="508540"/>
                  </a:lnTo>
                  <a:lnTo>
                    <a:pt x="2206847" y="52644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4" name="Google Shape;174;p12"/>
            <p:cNvSpPr/>
            <p:nvPr/>
          </p:nvSpPr>
          <p:spPr>
            <a:xfrm>
              <a:off x="7014156" y="3298709"/>
              <a:ext cx="1789199" cy="1033007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942785" y="1292066"/>
                  </a:moveTo>
                  <a:lnTo>
                    <a:pt x="0" y="747808"/>
                  </a:lnTo>
                  <a:lnTo>
                    <a:pt x="1295210" y="0"/>
                  </a:lnTo>
                  <a:lnTo>
                    <a:pt x="2237899" y="544354"/>
                  </a:lnTo>
                  <a:lnTo>
                    <a:pt x="942785" y="1292066"/>
                  </a:lnTo>
                  <a:close/>
                </a:path>
              </a:pathLst>
            </a:custGeom>
            <a:solidFill>
              <a:srgbClr val="FAFBFF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5" name="Google Shape;175;p12"/>
            <p:cNvSpPr/>
            <p:nvPr/>
          </p:nvSpPr>
          <p:spPr>
            <a:xfrm>
              <a:off x="7976493" y="3396565"/>
              <a:ext cx="664277" cy="383503"/>
            </a:xfrm>
            <a:custGeom>
              <a:avLst/>
              <a:gdLst/>
              <a:ahLst/>
              <a:cxnLst/>
              <a:rect l="l" t="t" r="r" b="b"/>
              <a:pathLst>
                <a:path w="830865" h="479678" extrusionOk="0">
                  <a:moveTo>
                    <a:pt x="755904" y="479679"/>
                  </a:moveTo>
                  <a:lnTo>
                    <a:pt x="0" y="43243"/>
                  </a:lnTo>
                  <a:lnTo>
                    <a:pt x="74867" y="0"/>
                  </a:lnTo>
                  <a:lnTo>
                    <a:pt x="830866" y="436436"/>
                  </a:lnTo>
                  <a:lnTo>
                    <a:pt x="755904" y="47967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6" name="Google Shape;176;p12"/>
            <p:cNvSpPr/>
            <p:nvPr/>
          </p:nvSpPr>
          <p:spPr>
            <a:xfrm>
              <a:off x="7912754" y="3450709"/>
              <a:ext cx="634273" cy="366217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6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7" name="Google Shape;177;p12"/>
            <p:cNvSpPr/>
            <p:nvPr/>
          </p:nvSpPr>
          <p:spPr>
            <a:xfrm>
              <a:off x="7863331" y="3479190"/>
              <a:ext cx="634273" cy="366217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5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8" name="Google Shape;178;p12"/>
            <p:cNvSpPr/>
            <p:nvPr/>
          </p:nvSpPr>
          <p:spPr>
            <a:xfrm>
              <a:off x="7813984" y="3507747"/>
              <a:ext cx="634273" cy="366217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5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9" name="Google Shape;179;p12"/>
            <p:cNvSpPr/>
            <p:nvPr/>
          </p:nvSpPr>
          <p:spPr>
            <a:xfrm>
              <a:off x="7451727" y="3699575"/>
              <a:ext cx="664201" cy="383503"/>
            </a:xfrm>
            <a:custGeom>
              <a:avLst/>
              <a:gdLst/>
              <a:ahLst/>
              <a:cxnLst/>
              <a:rect l="l" t="t" r="r" b="b"/>
              <a:pathLst>
                <a:path w="830770" h="479679" extrusionOk="0">
                  <a:moveTo>
                    <a:pt x="756000" y="479679"/>
                  </a:moveTo>
                  <a:lnTo>
                    <a:pt x="0" y="43244"/>
                  </a:lnTo>
                  <a:lnTo>
                    <a:pt x="74962" y="0"/>
                  </a:lnTo>
                  <a:lnTo>
                    <a:pt x="830771" y="436436"/>
                  </a:lnTo>
                  <a:lnTo>
                    <a:pt x="756000" y="47967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0" name="Google Shape;180;p12"/>
            <p:cNvSpPr/>
            <p:nvPr/>
          </p:nvSpPr>
          <p:spPr>
            <a:xfrm>
              <a:off x="7387988" y="3753643"/>
              <a:ext cx="592922" cy="342381"/>
            </a:xfrm>
            <a:custGeom>
              <a:avLst/>
              <a:gdLst/>
              <a:ahLst/>
              <a:cxnLst/>
              <a:rect l="l" t="t" r="r" b="b"/>
              <a:pathLst>
                <a:path w="741616" h="428244" extrusionOk="0">
                  <a:moveTo>
                    <a:pt x="704184" y="428244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41617" y="406622"/>
                  </a:lnTo>
                  <a:lnTo>
                    <a:pt x="704184" y="42824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1" name="Google Shape;181;p12"/>
            <p:cNvSpPr/>
            <p:nvPr/>
          </p:nvSpPr>
          <p:spPr>
            <a:xfrm>
              <a:off x="7338565" y="3782200"/>
              <a:ext cx="581727" cy="335832"/>
            </a:xfrm>
            <a:custGeom>
              <a:avLst/>
              <a:gdLst/>
              <a:ahLst/>
              <a:cxnLst/>
              <a:rect l="l" t="t" r="r" b="b"/>
              <a:pathLst>
                <a:path w="727614" h="420052" extrusionOk="0">
                  <a:moveTo>
                    <a:pt x="690181" y="420053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27615" y="398431"/>
                  </a:lnTo>
                  <a:lnTo>
                    <a:pt x="690181" y="420053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2" name="Google Shape;182;p12"/>
            <p:cNvSpPr/>
            <p:nvPr/>
          </p:nvSpPr>
          <p:spPr>
            <a:xfrm>
              <a:off x="7289218" y="3810681"/>
              <a:ext cx="496361" cy="286637"/>
            </a:xfrm>
            <a:custGeom>
              <a:avLst/>
              <a:gdLst/>
              <a:ahLst/>
              <a:cxnLst/>
              <a:rect l="l" t="t" r="r" b="b"/>
              <a:pathLst>
                <a:path w="620839" h="358520" extrusionOk="0">
                  <a:moveTo>
                    <a:pt x="583406" y="358521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620840" y="336899"/>
                  </a:lnTo>
                  <a:lnTo>
                    <a:pt x="583406" y="358521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" name="Google Shape;183;p12"/>
            <p:cNvSpPr/>
            <p:nvPr/>
          </p:nvSpPr>
          <p:spPr>
            <a:xfrm>
              <a:off x="7582329" y="3561435"/>
              <a:ext cx="337202" cy="194645"/>
            </a:xfrm>
            <a:custGeom>
              <a:avLst/>
              <a:gdLst/>
              <a:ahLst/>
              <a:cxnLst/>
              <a:rect l="l" t="t" r="r" b="b"/>
              <a:pathLst>
                <a:path w="421766" h="243458" extrusionOk="0">
                  <a:moveTo>
                    <a:pt x="210883" y="243459"/>
                  </a:moveTo>
                  <a:lnTo>
                    <a:pt x="0" y="121729"/>
                  </a:lnTo>
                  <a:lnTo>
                    <a:pt x="210883" y="0"/>
                  </a:lnTo>
                  <a:lnTo>
                    <a:pt x="421767" y="121729"/>
                  </a:lnTo>
                  <a:lnTo>
                    <a:pt x="210883" y="24345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4" name="Google Shape;184;p12"/>
            <p:cNvSpPr/>
            <p:nvPr/>
          </p:nvSpPr>
          <p:spPr>
            <a:xfrm>
              <a:off x="7800200" y="3687162"/>
              <a:ext cx="337202" cy="194721"/>
            </a:xfrm>
            <a:custGeom>
              <a:avLst/>
              <a:gdLst/>
              <a:ahLst/>
              <a:cxnLst/>
              <a:rect l="l" t="t" r="r" b="b"/>
              <a:pathLst>
                <a:path w="421766" h="243554" extrusionOk="0">
                  <a:moveTo>
                    <a:pt x="210884" y="243554"/>
                  </a:moveTo>
                  <a:lnTo>
                    <a:pt x="0" y="121825"/>
                  </a:lnTo>
                  <a:lnTo>
                    <a:pt x="210884" y="0"/>
                  </a:lnTo>
                  <a:lnTo>
                    <a:pt x="421767" y="121825"/>
                  </a:lnTo>
                  <a:lnTo>
                    <a:pt x="210884" y="24355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" name="Google Shape;185;p12"/>
            <p:cNvSpPr/>
            <p:nvPr/>
          </p:nvSpPr>
          <p:spPr>
            <a:xfrm>
              <a:off x="8018073" y="3812966"/>
              <a:ext cx="337202" cy="194721"/>
            </a:xfrm>
            <a:custGeom>
              <a:avLst/>
              <a:gdLst/>
              <a:ahLst/>
              <a:cxnLst/>
              <a:rect l="l" t="t" r="r" b="b"/>
              <a:pathLst>
                <a:path w="421766" h="243554" extrusionOk="0">
                  <a:moveTo>
                    <a:pt x="210883" y="243554"/>
                  </a:moveTo>
                  <a:lnTo>
                    <a:pt x="0" y="121729"/>
                  </a:lnTo>
                  <a:lnTo>
                    <a:pt x="210883" y="0"/>
                  </a:lnTo>
                  <a:lnTo>
                    <a:pt x="421767" y="121825"/>
                  </a:lnTo>
                  <a:lnTo>
                    <a:pt x="210883" y="24355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" name="Google Shape;186;p12"/>
            <p:cNvSpPr/>
            <p:nvPr/>
          </p:nvSpPr>
          <p:spPr>
            <a:xfrm>
              <a:off x="6687910" y="670084"/>
              <a:ext cx="163899" cy="239625"/>
            </a:xfrm>
            <a:custGeom>
              <a:avLst/>
              <a:gdLst/>
              <a:ahLst/>
              <a:cxnLst/>
              <a:rect l="l" t="t" r="r" b="b"/>
              <a:pathLst>
                <a:path w="205002" h="299719" extrusionOk="0">
                  <a:moveTo>
                    <a:pt x="72307" y="9903"/>
                  </a:moveTo>
                  <a:cubicBezTo>
                    <a:pt x="80498" y="-3146"/>
                    <a:pt x="142792" y="-11814"/>
                    <a:pt x="163271" y="41050"/>
                  </a:cubicBezTo>
                  <a:cubicBezTo>
                    <a:pt x="171081" y="61052"/>
                    <a:pt x="169843" y="112201"/>
                    <a:pt x="176320" y="144396"/>
                  </a:cubicBezTo>
                  <a:cubicBezTo>
                    <a:pt x="182797" y="176590"/>
                    <a:pt x="198227" y="194783"/>
                    <a:pt x="203657" y="220596"/>
                  </a:cubicBezTo>
                  <a:cubicBezTo>
                    <a:pt x="209086" y="246409"/>
                    <a:pt x="200228" y="290414"/>
                    <a:pt x="136982" y="298129"/>
                  </a:cubicBezTo>
                  <a:cubicBezTo>
                    <a:pt x="73736" y="305845"/>
                    <a:pt x="26111" y="284032"/>
                    <a:pt x="11252" y="263935"/>
                  </a:cubicBezTo>
                  <a:cubicBezTo>
                    <a:pt x="-3607" y="243837"/>
                    <a:pt x="-3893" y="201260"/>
                    <a:pt x="11252" y="178210"/>
                  </a:cubicBezTo>
                  <a:cubicBezTo>
                    <a:pt x="26396" y="155159"/>
                    <a:pt x="38398" y="136776"/>
                    <a:pt x="38017" y="10696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7" name="Google Shape;187;p12"/>
            <p:cNvSpPr/>
            <p:nvPr/>
          </p:nvSpPr>
          <p:spPr>
            <a:xfrm>
              <a:off x="6700339" y="668001"/>
              <a:ext cx="78506" cy="96744"/>
            </a:xfrm>
            <a:custGeom>
              <a:avLst/>
              <a:gdLst/>
              <a:ahLst/>
              <a:cxnLst/>
              <a:rect l="l" t="t" r="r" b="b"/>
              <a:pathLst>
                <a:path w="98194" h="121006" extrusionOk="0">
                  <a:moveTo>
                    <a:pt x="98195" y="3459"/>
                  </a:moveTo>
                  <a:cubicBezTo>
                    <a:pt x="98195" y="3459"/>
                    <a:pt x="50570" y="-9685"/>
                    <a:pt x="22471" y="15270"/>
                  </a:cubicBezTo>
                  <a:cubicBezTo>
                    <a:pt x="3316" y="32880"/>
                    <a:pt x="-4399" y="59709"/>
                    <a:pt x="2468" y="84803"/>
                  </a:cubicBezTo>
                  <a:cubicBezTo>
                    <a:pt x="6278" y="99662"/>
                    <a:pt x="13803" y="119855"/>
                    <a:pt x="25614" y="120998"/>
                  </a:cubicBezTo>
                  <a:cubicBezTo>
                    <a:pt x="37425" y="122141"/>
                    <a:pt x="98195" y="3459"/>
                    <a:pt x="98195" y="3459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8" name="Google Shape;188;p12"/>
            <p:cNvSpPr/>
            <p:nvPr/>
          </p:nvSpPr>
          <p:spPr>
            <a:xfrm>
              <a:off x="6715688" y="773039"/>
              <a:ext cx="96838" cy="108380"/>
            </a:xfrm>
            <a:custGeom>
              <a:avLst/>
              <a:gdLst/>
              <a:ahLst/>
              <a:cxnLst/>
              <a:rect l="l" t="t" r="r" b="b"/>
              <a:pathLst>
                <a:path w="121123" h="135560" extrusionOk="0">
                  <a:moveTo>
                    <a:pt x="96617" y="0"/>
                  </a:moveTo>
                  <a:cubicBezTo>
                    <a:pt x="96617" y="0"/>
                    <a:pt x="93569" y="52387"/>
                    <a:pt x="94522" y="56197"/>
                  </a:cubicBezTo>
                  <a:cubicBezTo>
                    <a:pt x="95474" y="60008"/>
                    <a:pt x="115000" y="63722"/>
                    <a:pt x="120525" y="68294"/>
                  </a:cubicBezTo>
                  <a:cubicBezTo>
                    <a:pt x="126049" y="72866"/>
                    <a:pt x="91950" y="125921"/>
                    <a:pt x="74805" y="133826"/>
                  </a:cubicBezTo>
                  <a:cubicBezTo>
                    <a:pt x="57660" y="141732"/>
                    <a:pt x="4129" y="121539"/>
                    <a:pt x="414" y="94964"/>
                  </a:cubicBezTo>
                  <a:cubicBezTo>
                    <a:pt x="-3015" y="70580"/>
                    <a:pt x="15750" y="51530"/>
                    <a:pt x="22989" y="44863"/>
                  </a:cubicBezTo>
                  <a:cubicBezTo>
                    <a:pt x="27875" y="44509"/>
                    <a:pt x="32771" y="44509"/>
                    <a:pt x="37657" y="44863"/>
                  </a:cubicBezTo>
                  <a:lnTo>
                    <a:pt x="39276" y="19526"/>
                  </a:lnTo>
                  <a:cubicBezTo>
                    <a:pt x="62613" y="11335"/>
                    <a:pt x="96617" y="0"/>
                    <a:pt x="96617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9" name="Google Shape;189;p12"/>
            <p:cNvSpPr/>
            <p:nvPr/>
          </p:nvSpPr>
          <p:spPr>
            <a:xfrm>
              <a:off x="6550295" y="816287"/>
              <a:ext cx="182749" cy="260151"/>
            </a:xfrm>
            <a:custGeom>
              <a:avLst/>
              <a:gdLst/>
              <a:ahLst/>
              <a:cxnLst/>
              <a:rect l="l" t="t" r="r" b="b"/>
              <a:pathLst>
                <a:path w="228579" h="325392" extrusionOk="0">
                  <a:moveTo>
                    <a:pt x="149659" y="225085"/>
                  </a:moveTo>
                  <a:cubicBezTo>
                    <a:pt x="134829" y="245426"/>
                    <a:pt x="117303" y="263658"/>
                    <a:pt x="97557" y="279282"/>
                  </a:cubicBezTo>
                  <a:cubicBezTo>
                    <a:pt x="91252" y="285914"/>
                    <a:pt x="85308" y="292878"/>
                    <a:pt x="79746" y="300142"/>
                  </a:cubicBezTo>
                  <a:cubicBezTo>
                    <a:pt x="70392" y="310933"/>
                    <a:pt x="58276" y="318969"/>
                    <a:pt x="44694" y="323383"/>
                  </a:cubicBezTo>
                  <a:cubicBezTo>
                    <a:pt x="32883" y="326431"/>
                    <a:pt x="27930" y="325669"/>
                    <a:pt x="25644" y="323383"/>
                  </a:cubicBezTo>
                  <a:cubicBezTo>
                    <a:pt x="23358" y="321097"/>
                    <a:pt x="24596" y="317858"/>
                    <a:pt x="29739" y="315763"/>
                  </a:cubicBezTo>
                  <a:cubicBezTo>
                    <a:pt x="38150" y="313277"/>
                    <a:pt x="45961" y="309096"/>
                    <a:pt x="52695" y="303475"/>
                  </a:cubicBezTo>
                  <a:cubicBezTo>
                    <a:pt x="52695" y="303475"/>
                    <a:pt x="41741" y="308524"/>
                    <a:pt x="34788" y="310905"/>
                  </a:cubicBezTo>
                  <a:cubicBezTo>
                    <a:pt x="28644" y="313041"/>
                    <a:pt x="22234" y="314323"/>
                    <a:pt x="15738" y="314715"/>
                  </a:cubicBezTo>
                  <a:cubicBezTo>
                    <a:pt x="9165" y="314715"/>
                    <a:pt x="2403" y="307190"/>
                    <a:pt x="7546" y="305190"/>
                  </a:cubicBezTo>
                  <a:cubicBezTo>
                    <a:pt x="12690" y="303190"/>
                    <a:pt x="17071" y="302713"/>
                    <a:pt x="27549" y="298999"/>
                  </a:cubicBezTo>
                  <a:cubicBezTo>
                    <a:pt x="32921" y="297080"/>
                    <a:pt x="38017" y="294454"/>
                    <a:pt x="42693" y="291188"/>
                  </a:cubicBezTo>
                  <a:cubicBezTo>
                    <a:pt x="35655" y="293262"/>
                    <a:pt x="28454" y="294759"/>
                    <a:pt x="21167" y="295665"/>
                  </a:cubicBezTo>
                  <a:cubicBezTo>
                    <a:pt x="15090" y="296657"/>
                    <a:pt x="8851" y="295932"/>
                    <a:pt x="3165" y="293569"/>
                  </a:cubicBezTo>
                  <a:cubicBezTo>
                    <a:pt x="117" y="292236"/>
                    <a:pt x="-2550" y="286711"/>
                    <a:pt x="4308" y="284902"/>
                  </a:cubicBezTo>
                  <a:cubicBezTo>
                    <a:pt x="13166" y="284041"/>
                    <a:pt x="21881" y="282023"/>
                    <a:pt x="30216" y="278901"/>
                  </a:cubicBezTo>
                  <a:cubicBezTo>
                    <a:pt x="38217" y="275281"/>
                    <a:pt x="43265" y="271471"/>
                    <a:pt x="41455" y="270709"/>
                  </a:cubicBezTo>
                  <a:cubicBezTo>
                    <a:pt x="39645" y="269947"/>
                    <a:pt x="35169" y="272424"/>
                    <a:pt x="27168" y="271852"/>
                  </a:cubicBezTo>
                  <a:cubicBezTo>
                    <a:pt x="19167" y="271281"/>
                    <a:pt x="11642" y="266137"/>
                    <a:pt x="11737" y="262327"/>
                  </a:cubicBezTo>
                  <a:cubicBezTo>
                    <a:pt x="11832" y="258517"/>
                    <a:pt x="13452" y="260422"/>
                    <a:pt x="21262" y="259756"/>
                  </a:cubicBezTo>
                  <a:cubicBezTo>
                    <a:pt x="29559" y="257716"/>
                    <a:pt x="37998" y="256284"/>
                    <a:pt x="46503" y="255469"/>
                  </a:cubicBezTo>
                  <a:cubicBezTo>
                    <a:pt x="54924" y="255791"/>
                    <a:pt x="63344" y="254795"/>
                    <a:pt x="71459" y="252517"/>
                  </a:cubicBezTo>
                  <a:cubicBezTo>
                    <a:pt x="79936" y="249945"/>
                    <a:pt x="99081" y="226990"/>
                    <a:pt x="113750" y="205939"/>
                  </a:cubicBezTo>
                  <a:cubicBezTo>
                    <a:pt x="129714" y="182391"/>
                    <a:pt x="142344" y="156747"/>
                    <a:pt x="151278" y="129739"/>
                  </a:cubicBezTo>
                  <a:cubicBezTo>
                    <a:pt x="160041" y="101164"/>
                    <a:pt x="170328" y="46586"/>
                    <a:pt x="178044" y="27727"/>
                  </a:cubicBezTo>
                  <a:cubicBezTo>
                    <a:pt x="185759" y="8867"/>
                    <a:pt x="198427" y="390"/>
                    <a:pt x="210714" y="9"/>
                  </a:cubicBezTo>
                  <a:cubicBezTo>
                    <a:pt x="225097" y="-467"/>
                    <a:pt x="231289" y="18487"/>
                    <a:pt x="227478" y="34870"/>
                  </a:cubicBezTo>
                  <a:cubicBezTo>
                    <a:pt x="220811" y="62969"/>
                    <a:pt x="188807" y="173650"/>
                    <a:pt x="149659" y="225085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0" name="Google Shape;190;p12"/>
            <p:cNvSpPr/>
            <p:nvPr/>
          </p:nvSpPr>
          <p:spPr>
            <a:xfrm>
              <a:off x="6687493" y="808527"/>
              <a:ext cx="141166" cy="186207"/>
            </a:xfrm>
            <a:custGeom>
              <a:avLst/>
              <a:gdLst/>
              <a:ahLst/>
              <a:cxnLst/>
              <a:rect l="l" t="t" r="r" b="b"/>
              <a:pathLst>
                <a:path w="176568" h="232904" extrusionOk="0">
                  <a:moveTo>
                    <a:pt x="139122" y="16859"/>
                  </a:moveTo>
                  <a:cubicBezTo>
                    <a:pt x="153790" y="19145"/>
                    <a:pt x="170554" y="26955"/>
                    <a:pt x="172840" y="35051"/>
                  </a:cubicBezTo>
                  <a:cubicBezTo>
                    <a:pt x="178965" y="64011"/>
                    <a:pt x="177526" y="94062"/>
                    <a:pt x="168649" y="122300"/>
                  </a:cubicBezTo>
                  <a:cubicBezTo>
                    <a:pt x="155981" y="156019"/>
                    <a:pt x="141503" y="216693"/>
                    <a:pt x="134264" y="231266"/>
                  </a:cubicBezTo>
                  <a:cubicBezTo>
                    <a:pt x="96383" y="236540"/>
                    <a:pt x="57826" y="228996"/>
                    <a:pt x="24726" y="209835"/>
                  </a:cubicBezTo>
                  <a:cubicBezTo>
                    <a:pt x="24726" y="209835"/>
                    <a:pt x="21678" y="151352"/>
                    <a:pt x="21488" y="132016"/>
                  </a:cubicBezTo>
                  <a:cubicBezTo>
                    <a:pt x="-26137" y="90773"/>
                    <a:pt x="14630" y="39814"/>
                    <a:pt x="54635" y="285"/>
                  </a:cubicBezTo>
                  <a:cubicBezTo>
                    <a:pt x="59455" y="-95"/>
                    <a:pt x="64293" y="-95"/>
                    <a:pt x="69113" y="285"/>
                  </a:cubicBezTo>
                  <a:cubicBezTo>
                    <a:pt x="69113" y="285"/>
                    <a:pt x="33394" y="42576"/>
                    <a:pt x="58159" y="66960"/>
                  </a:cubicBezTo>
                  <a:cubicBezTo>
                    <a:pt x="111499" y="50291"/>
                    <a:pt x="122072" y="26384"/>
                    <a:pt x="139122" y="16859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1" name="Google Shape;191;p12"/>
            <p:cNvSpPr/>
            <p:nvPr/>
          </p:nvSpPr>
          <p:spPr>
            <a:xfrm>
              <a:off x="6712641" y="675415"/>
              <a:ext cx="103849" cy="127932"/>
            </a:xfrm>
            <a:custGeom>
              <a:avLst/>
              <a:gdLst/>
              <a:ahLst/>
              <a:cxnLst/>
              <a:rect l="l" t="t" r="r" b="b"/>
              <a:pathLst>
                <a:path w="129892" h="160015" extrusionOk="0">
                  <a:moveTo>
                    <a:pt x="2701" y="57241"/>
                  </a:moveTo>
                  <a:lnTo>
                    <a:pt x="2701" y="57241"/>
                  </a:lnTo>
                  <a:cubicBezTo>
                    <a:pt x="8035" y="23618"/>
                    <a:pt x="32324" y="-1719"/>
                    <a:pt x="66995" y="91"/>
                  </a:cubicBezTo>
                  <a:cubicBezTo>
                    <a:pt x="103761" y="2178"/>
                    <a:pt x="131870" y="33673"/>
                    <a:pt x="129784" y="70438"/>
                  </a:cubicBezTo>
                  <a:cubicBezTo>
                    <a:pt x="129774" y="70547"/>
                    <a:pt x="129774" y="70657"/>
                    <a:pt x="129765" y="70767"/>
                  </a:cubicBezTo>
                  <a:cubicBezTo>
                    <a:pt x="128441" y="91415"/>
                    <a:pt x="117601" y="110276"/>
                    <a:pt x="100428" y="121821"/>
                  </a:cubicBezTo>
                  <a:cubicBezTo>
                    <a:pt x="99228" y="126932"/>
                    <a:pt x="97437" y="131886"/>
                    <a:pt x="95094" y="136584"/>
                  </a:cubicBezTo>
                  <a:cubicBezTo>
                    <a:pt x="82806" y="150872"/>
                    <a:pt x="50231" y="159921"/>
                    <a:pt x="39468" y="160016"/>
                  </a:cubicBezTo>
                  <a:cubicBezTo>
                    <a:pt x="29943" y="160016"/>
                    <a:pt x="22132" y="151443"/>
                    <a:pt x="13369" y="137061"/>
                  </a:cubicBezTo>
                  <a:cubicBezTo>
                    <a:pt x="-4728" y="107247"/>
                    <a:pt x="-156" y="73910"/>
                    <a:pt x="2701" y="57241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2" name="Google Shape;192;p12"/>
            <p:cNvSpPr/>
            <p:nvPr/>
          </p:nvSpPr>
          <p:spPr>
            <a:xfrm>
              <a:off x="6716857" y="674913"/>
              <a:ext cx="104260" cy="98126"/>
            </a:xfrm>
            <a:custGeom>
              <a:avLst/>
              <a:gdLst/>
              <a:ahLst/>
              <a:cxnLst/>
              <a:rect l="l" t="t" r="r" b="b"/>
              <a:pathLst>
                <a:path w="130406" h="122734" extrusionOk="0">
                  <a:moveTo>
                    <a:pt x="72390" y="1671"/>
                  </a:moveTo>
                  <a:cubicBezTo>
                    <a:pt x="96679" y="6339"/>
                    <a:pt x="116681" y="13197"/>
                    <a:pt x="123254" y="37104"/>
                  </a:cubicBezTo>
                  <a:cubicBezTo>
                    <a:pt x="127825" y="53487"/>
                    <a:pt x="133731" y="84729"/>
                    <a:pt x="128111" y="98064"/>
                  </a:cubicBezTo>
                  <a:lnTo>
                    <a:pt x="124587" y="107589"/>
                  </a:lnTo>
                  <a:lnTo>
                    <a:pt x="95155" y="122734"/>
                  </a:lnTo>
                  <a:cubicBezTo>
                    <a:pt x="95155" y="122734"/>
                    <a:pt x="81439" y="111304"/>
                    <a:pt x="85630" y="77776"/>
                  </a:cubicBezTo>
                  <a:cubicBezTo>
                    <a:pt x="85506" y="73249"/>
                    <a:pt x="84077" y="68853"/>
                    <a:pt x="81534" y="65108"/>
                  </a:cubicBezTo>
                  <a:cubicBezTo>
                    <a:pt x="79667" y="61944"/>
                    <a:pt x="78315" y="58504"/>
                    <a:pt x="77533" y="54916"/>
                  </a:cubicBezTo>
                  <a:cubicBezTo>
                    <a:pt x="74028" y="45886"/>
                    <a:pt x="67218" y="38529"/>
                    <a:pt x="58483" y="34342"/>
                  </a:cubicBezTo>
                  <a:cubicBezTo>
                    <a:pt x="39653" y="26020"/>
                    <a:pt x="18002" y="27007"/>
                    <a:pt x="0" y="37009"/>
                  </a:cubicBezTo>
                  <a:cubicBezTo>
                    <a:pt x="12706" y="9565"/>
                    <a:pt x="42939" y="-5191"/>
                    <a:pt x="72390" y="1671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3" name="Google Shape;193;p12"/>
            <p:cNvSpPr/>
            <p:nvPr/>
          </p:nvSpPr>
          <p:spPr>
            <a:xfrm>
              <a:off x="6591681" y="1319278"/>
              <a:ext cx="81988" cy="62539"/>
            </a:xfrm>
            <a:custGeom>
              <a:avLst/>
              <a:gdLst/>
              <a:ahLst/>
              <a:cxnLst/>
              <a:rect l="l" t="t" r="r" b="b"/>
              <a:pathLst>
                <a:path w="102549" h="78223" extrusionOk="0">
                  <a:moveTo>
                    <a:pt x="95132" y="3"/>
                  </a:moveTo>
                  <a:cubicBezTo>
                    <a:pt x="82845" y="9528"/>
                    <a:pt x="63699" y="3051"/>
                    <a:pt x="62747" y="4003"/>
                  </a:cubicBezTo>
                  <a:cubicBezTo>
                    <a:pt x="48374" y="16282"/>
                    <a:pt x="33334" y="27761"/>
                    <a:pt x="17694" y="38388"/>
                  </a:cubicBezTo>
                  <a:cubicBezTo>
                    <a:pt x="10074" y="44389"/>
                    <a:pt x="-1928" y="52485"/>
                    <a:pt x="263" y="64106"/>
                  </a:cubicBezTo>
                  <a:cubicBezTo>
                    <a:pt x="4168" y="84775"/>
                    <a:pt x="37315" y="78393"/>
                    <a:pt x="49888" y="72107"/>
                  </a:cubicBezTo>
                  <a:cubicBezTo>
                    <a:pt x="62461" y="65820"/>
                    <a:pt x="72558" y="55248"/>
                    <a:pt x="84464" y="47913"/>
                  </a:cubicBezTo>
                  <a:cubicBezTo>
                    <a:pt x="92846" y="42675"/>
                    <a:pt x="101228" y="39912"/>
                    <a:pt x="102466" y="28863"/>
                  </a:cubicBezTo>
                  <a:cubicBezTo>
                    <a:pt x="103323" y="22767"/>
                    <a:pt x="97323" y="-283"/>
                    <a:pt x="95132" y="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4" name="Google Shape;194;p12"/>
            <p:cNvSpPr/>
            <p:nvPr/>
          </p:nvSpPr>
          <p:spPr>
            <a:xfrm>
              <a:off x="6592043" y="1339232"/>
              <a:ext cx="81616" cy="42611"/>
            </a:xfrm>
            <a:custGeom>
              <a:avLst/>
              <a:gdLst/>
              <a:ahLst/>
              <a:cxnLst/>
              <a:rect l="l" t="t" r="r" b="b"/>
              <a:pathLst>
                <a:path w="102084" h="53297" extrusionOk="0">
                  <a:moveTo>
                    <a:pt x="101917" y="0"/>
                  </a:moveTo>
                  <a:cubicBezTo>
                    <a:pt x="100298" y="10192"/>
                    <a:pt x="92392" y="13049"/>
                    <a:pt x="83725" y="18193"/>
                  </a:cubicBezTo>
                  <a:cubicBezTo>
                    <a:pt x="71628" y="25717"/>
                    <a:pt x="61055" y="36481"/>
                    <a:pt x="48482" y="42863"/>
                  </a:cubicBezTo>
                  <a:cubicBezTo>
                    <a:pt x="35909" y="49244"/>
                    <a:pt x="8096" y="54483"/>
                    <a:pt x="0" y="39719"/>
                  </a:cubicBezTo>
                  <a:cubicBezTo>
                    <a:pt x="4381" y="59722"/>
                    <a:pt x="36957" y="53435"/>
                    <a:pt x="49435" y="47149"/>
                  </a:cubicBezTo>
                  <a:cubicBezTo>
                    <a:pt x="61913" y="40862"/>
                    <a:pt x="72104" y="30289"/>
                    <a:pt x="84010" y="22955"/>
                  </a:cubicBezTo>
                  <a:cubicBezTo>
                    <a:pt x="92392" y="17716"/>
                    <a:pt x="100775" y="14954"/>
                    <a:pt x="102013" y="3905"/>
                  </a:cubicBezTo>
                  <a:cubicBezTo>
                    <a:pt x="102137" y="2604"/>
                    <a:pt x="102098" y="1293"/>
                    <a:pt x="10191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5" name="Google Shape;195;p12"/>
            <p:cNvSpPr/>
            <p:nvPr/>
          </p:nvSpPr>
          <p:spPr>
            <a:xfrm>
              <a:off x="6550653" y="1292322"/>
              <a:ext cx="75049" cy="58139"/>
            </a:xfrm>
            <a:custGeom>
              <a:avLst/>
              <a:gdLst/>
              <a:ahLst/>
              <a:cxnLst/>
              <a:rect l="l" t="t" r="r" b="b"/>
              <a:pathLst>
                <a:path w="93870" h="72719" extrusionOk="0">
                  <a:moveTo>
                    <a:pt x="86537" y="0"/>
                  </a:moveTo>
                  <a:cubicBezTo>
                    <a:pt x="75297" y="9525"/>
                    <a:pt x="57962" y="4000"/>
                    <a:pt x="57390" y="4858"/>
                  </a:cubicBezTo>
                  <a:cubicBezTo>
                    <a:pt x="44255" y="16047"/>
                    <a:pt x="30520" y="26508"/>
                    <a:pt x="16242" y="36195"/>
                  </a:cubicBezTo>
                  <a:cubicBezTo>
                    <a:pt x="9194" y="41719"/>
                    <a:pt x="-1760" y="49149"/>
                    <a:pt x="240" y="59722"/>
                  </a:cubicBezTo>
                  <a:cubicBezTo>
                    <a:pt x="3764" y="78772"/>
                    <a:pt x="34149" y="72866"/>
                    <a:pt x="45674" y="67056"/>
                  </a:cubicBezTo>
                  <a:cubicBezTo>
                    <a:pt x="57200" y="61246"/>
                    <a:pt x="66439" y="51625"/>
                    <a:pt x="77297" y="44958"/>
                  </a:cubicBezTo>
                  <a:cubicBezTo>
                    <a:pt x="85013" y="40100"/>
                    <a:pt x="92633" y="37624"/>
                    <a:pt x="93871" y="27813"/>
                  </a:cubicBezTo>
                  <a:cubicBezTo>
                    <a:pt x="93547" y="18108"/>
                    <a:pt x="91042" y="8600"/>
                    <a:pt x="86537" y="0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6" name="Google Shape;196;p12"/>
            <p:cNvSpPr/>
            <p:nvPr/>
          </p:nvSpPr>
          <p:spPr>
            <a:xfrm>
              <a:off x="6550998" y="1311512"/>
              <a:ext cx="74752" cy="39022"/>
            </a:xfrm>
            <a:custGeom>
              <a:avLst/>
              <a:gdLst/>
              <a:ahLst/>
              <a:cxnLst/>
              <a:rect l="l" t="t" r="r" b="b"/>
              <a:pathLst>
                <a:path w="93498" h="48808" extrusionOk="0">
                  <a:moveTo>
                    <a:pt x="93345" y="0"/>
                  </a:moveTo>
                  <a:cubicBezTo>
                    <a:pt x="91821" y="9525"/>
                    <a:pt x="84296" y="11906"/>
                    <a:pt x="76581" y="16669"/>
                  </a:cubicBezTo>
                  <a:cubicBezTo>
                    <a:pt x="65913" y="23622"/>
                    <a:pt x="56388" y="33147"/>
                    <a:pt x="44387" y="39243"/>
                  </a:cubicBezTo>
                  <a:cubicBezTo>
                    <a:pt x="32385" y="45339"/>
                    <a:pt x="7429" y="49911"/>
                    <a:pt x="0" y="36385"/>
                  </a:cubicBezTo>
                  <a:cubicBezTo>
                    <a:pt x="4000" y="54674"/>
                    <a:pt x="33814" y="48959"/>
                    <a:pt x="45244" y="43148"/>
                  </a:cubicBezTo>
                  <a:cubicBezTo>
                    <a:pt x="56674" y="37338"/>
                    <a:pt x="66008" y="27718"/>
                    <a:pt x="76867" y="21050"/>
                  </a:cubicBezTo>
                  <a:cubicBezTo>
                    <a:pt x="84582" y="16193"/>
                    <a:pt x="92202" y="13716"/>
                    <a:pt x="93440" y="3905"/>
                  </a:cubicBezTo>
                  <a:cubicBezTo>
                    <a:pt x="93545" y="2604"/>
                    <a:pt x="93507" y="1295"/>
                    <a:pt x="9334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7" name="Google Shape;197;p12"/>
            <p:cNvSpPr/>
            <p:nvPr/>
          </p:nvSpPr>
          <p:spPr>
            <a:xfrm>
              <a:off x="6578488" y="992358"/>
              <a:ext cx="178709" cy="308230"/>
            </a:xfrm>
            <a:custGeom>
              <a:avLst/>
              <a:gdLst/>
              <a:ahLst/>
              <a:cxnLst/>
              <a:rect l="l" t="t" r="r" b="b"/>
              <a:pathLst>
                <a:path w="223526" h="385528" extrusionOk="0">
                  <a:moveTo>
                    <a:pt x="222028" y="14192"/>
                  </a:moveTo>
                  <a:cubicBezTo>
                    <a:pt x="188671" y="18631"/>
                    <a:pt x="154743" y="13718"/>
                    <a:pt x="124016" y="0"/>
                  </a:cubicBezTo>
                  <a:cubicBezTo>
                    <a:pt x="124587" y="10477"/>
                    <a:pt x="125158" y="19717"/>
                    <a:pt x="125158" y="19717"/>
                  </a:cubicBezTo>
                  <a:cubicBezTo>
                    <a:pt x="85249" y="48292"/>
                    <a:pt x="5239" y="95345"/>
                    <a:pt x="0" y="128111"/>
                  </a:cubicBezTo>
                  <a:cubicBezTo>
                    <a:pt x="5239" y="231553"/>
                    <a:pt x="20955" y="379381"/>
                    <a:pt x="25432" y="381476"/>
                  </a:cubicBezTo>
                  <a:cubicBezTo>
                    <a:pt x="37909" y="387477"/>
                    <a:pt x="46672" y="386525"/>
                    <a:pt x="52578" y="380524"/>
                  </a:cubicBezTo>
                  <a:cubicBezTo>
                    <a:pt x="52578" y="380524"/>
                    <a:pt x="77724" y="292894"/>
                    <a:pt x="70390" y="164306"/>
                  </a:cubicBezTo>
                  <a:cubicBezTo>
                    <a:pt x="70390" y="164306"/>
                    <a:pt x="209931" y="102489"/>
                    <a:pt x="219075" y="69056"/>
                  </a:cubicBezTo>
                  <a:cubicBezTo>
                    <a:pt x="223152" y="55420"/>
                    <a:pt x="224447" y="41103"/>
                    <a:pt x="222885" y="26956"/>
                  </a:cubicBezTo>
                  <a:cubicBezTo>
                    <a:pt x="222790" y="22765"/>
                    <a:pt x="222504" y="18288"/>
                    <a:pt x="222028" y="14192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8" name="Google Shape;198;p12"/>
            <p:cNvSpPr/>
            <p:nvPr/>
          </p:nvSpPr>
          <p:spPr>
            <a:xfrm>
              <a:off x="6627226" y="992967"/>
              <a:ext cx="177917" cy="333745"/>
            </a:xfrm>
            <a:custGeom>
              <a:avLst/>
              <a:gdLst/>
              <a:ahLst/>
              <a:cxnLst/>
              <a:rect l="l" t="t" r="r" b="b"/>
              <a:pathLst>
                <a:path w="222535" h="417442" extrusionOk="0">
                  <a:moveTo>
                    <a:pt x="207359" y="0"/>
                  </a:moveTo>
                  <a:cubicBezTo>
                    <a:pt x="180927" y="11882"/>
                    <a:pt x="151600" y="15820"/>
                    <a:pt x="122968" y="11335"/>
                  </a:cubicBezTo>
                  <a:cubicBezTo>
                    <a:pt x="122968" y="25146"/>
                    <a:pt x="124968" y="51149"/>
                    <a:pt x="124968" y="51149"/>
                  </a:cubicBezTo>
                  <a:cubicBezTo>
                    <a:pt x="84868" y="79153"/>
                    <a:pt x="5144" y="126778"/>
                    <a:pt x="0" y="159544"/>
                  </a:cubicBezTo>
                  <a:cubicBezTo>
                    <a:pt x="5144" y="263081"/>
                    <a:pt x="14859" y="412909"/>
                    <a:pt x="19050" y="414814"/>
                  </a:cubicBezTo>
                  <a:cubicBezTo>
                    <a:pt x="29994" y="419399"/>
                    <a:pt x="42529" y="417917"/>
                    <a:pt x="52102" y="410909"/>
                  </a:cubicBezTo>
                  <a:cubicBezTo>
                    <a:pt x="52102" y="410909"/>
                    <a:pt x="77343" y="324326"/>
                    <a:pt x="70009" y="195739"/>
                  </a:cubicBezTo>
                  <a:cubicBezTo>
                    <a:pt x="70009" y="193358"/>
                    <a:pt x="189643" y="134398"/>
                    <a:pt x="204788" y="118872"/>
                  </a:cubicBezTo>
                  <a:cubicBezTo>
                    <a:pt x="219932" y="103346"/>
                    <a:pt x="222885" y="80105"/>
                    <a:pt x="222504" y="58103"/>
                  </a:cubicBezTo>
                  <a:cubicBezTo>
                    <a:pt x="221466" y="37907"/>
                    <a:pt x="216313" y="18135"/>
                    <a:pt x="207359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9" name="Google Shape;199;p12"/>
            <p:cNvSpPr/>
            <p:nvPr/>
          </p:nvSpPr>
          <p:spPr>
            <a:xfrm>
              <a:off x="6560953" y="971949"/>
              <a:ext cx="266059" cy="244904"/>
            </a:xfrm>
            <a:custGeom>
              <a:avLst/>
              <a:gdLst/>
              <a:ahLst/>
              <a:cxnLst/>
              <a:rect l="l" t="t" r="r" b="b"/>
              <a:pathLst>
                <a:path w="332782" h="306321" extrusionOk="0">
                  <a:moveTo>
                    <a:pt x="319589" y="48292"/>
                  </a:moveTo>
                  <a:cubicBezTo>
                    <a:pt x="319589" y="48292"/>
                    <a:pt x="363881" y="126682"/>
                    <a:pt x="290157" y="166973"/>
                  </a:cubicBezTo>
                  <a:cubicBezTo>
                    <a:pt x="212338" y="209455"/>
                    <a:pt x="164999" y="219361"/>
                    <a:pt x="164999" y="219361"/>
                  </a:cubicBezTo>
                  <a:lnTo>
                    <a:pt x="153283" y="222123"/>
                  </a:lnTo>
                  <a:cubicBezTo>
                    <a:pt x="156950" y="249145"/>
                    <a:pt x="156950" y="276539"/>
                    <a:pt x="153283" y="303562"/>
                  </a:cubicBezTo>
                  <a:cubicBezTo>
                    <a:pt x="153283" y="303562"/>
                    <a:pt x="97752" y="322612"/>
                    <a:pt x="26981" y="260604"/>
                  </a:cubicBezTo>
                  <a:lnTo>
                    <a:pt x="3550" y="185071"/>
                  </a:lnTo>
                  <a:lnTo>
                    <a:pt x="788" y="165068"/>
                  </a:lnTo>
                  <a:cubicBezTo>
                    <a:pt x="-1936" y="151189"/>
                    <a:pt x="2502" y="136869"/>
                    <a:pt x="12599" y="126968"/>
                  </a:cubicBezTo>
                  <a:cubicBezTo>
                    <a:pt x="29553" y="111538"/>
                    <a:pt x="83369" y="72104"/>
                    <a:pt x="116802" y="49625"/>
                  </a:cubicBezTo>
                  <a:cubicBezTo>
                    <a:pt x="150235" y="27146"/>
                    <a:pt x="177286" y="5429"/>
                    <a:pt x="177286" y="5429"/>
                  </a:cubicBezTo>
                  <a:lnTo>
                    <a:pt x="183096" y="0"/>
                  </a:lnTo>
                  <a:cubicBezTo>
                    <a:pt x="183096" y="0"/>
                    <a:pt x="222815" y="31623"/>
                    <a:pt x="295301" y="21050"/>
                  </a:cubicBezTo>
                  <a:cubicBezTo>
                    <a:pt x="304826" y="28750"/>
                    <a:pt x="313027" y="37951"/>
                    <a:pt x="319589" y="48292"/>
                  </a:cubicBezTo>
                  <a:close/>
                </a:path>
              </a:pathLst>
            </a:custGeom>
            <a:solidFill>
              <a:srgbClr val="E26161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0" name="Google Shape;200;p12"/>
            <p:cNvSpPr/>
            <p:nvPr/>
          </p:nvSpPr>
          <p:spPr>
            <a:xfrm>
              <a:off x="6774876" y="827227"/>
              <a:ext cx="92463" cy="324160"/>
            </a:xfrm>
            <a:custGeom>
              <a:avLst/>
              <a:gdLst/>
              <a:ahLst/>
              <a:cxnLst/>
              <a:rect l="l" t="t" r="r" b="b"/>
              <a:pathLst>
                <a:path w="115651" h="405453" extrusionOk="0">
                  <a:moveTo>
                    <a:pt x="8203" y="345513"/>
                  </a:moveTo>
                  <a:cubicBezTo>
                    <a:pt x="14946" y="339437"/>
                    <a:pt x="22071" y="333806"/>
                    <a:pt x="29539" y="328654"/>
                  </a:cubicBezTo>
                  <a:cubicBezTo>
                    <a:pt x="37482" y="324626"/>
                    <a:pt x="44769" y="319424"/>
                    <a:pt x="51160" y="313223"/>
                  </a:cubicBezTo>
                  <a:cubicBezTo>
                    <a:pt x="57923" y="306460"/>
                    <a:pt x="67924" y="277981"/>
                    <a:pt x="73163" y="250263"/>
                  </a:cubicBezTo>
                  <a:cubicBezTo>
                    <a:pt x="77992" y="219257"/>
                    <a:pt x="77478" y="187654"/>
                    <a:pt x="71639" y="156823"/>
                  </a:cubicBezTo>
                  <a:cubicBezTo>
                    <a:pt x="62447" y="119935"/>
                    <a:pt x="50046" y="83921"/>
                    <a:pt x="34587" y="49190"/>
                  </a:cubicBezTo>
                  <a:cubicBezTo>
                    <a:pt x="25062" y="28426"/>
                    <a:pt x="30301" y="15757"/>
                    <a:pt x="39254" y="6518"/>
                  </a:cubicBezTo>
                  <a:cubicBezTo>
                    <a:pt x="49827" y="-4245"/>
                    <a:pt x="60781" y="-3959"/>
                    <a:pt x="73354" y="24997"/>
                  </a:cubicBezTo>
                  <a:cubicBezTo>
                    <a:pt x="90984" y="65646"/>
                    <a:pt x="104015" y="108137"/>
                    <a:pt x="112216" y="151679"/>
                  </a:cubicBezTo>
                  <a:cubicBezTo>
                    <a:pt x="117207" y="183273"/>
                    <a:pt x="116759" y="215488"/>
                    <a:pt x="110882" y="246929"/>
                  </a:cubicBezTo>
                  <a:cubicBezTo>
                    <a:pt x="105701" y="274524"/>
                    <a:pt x="97195" y="301390"/>
                    <a:pt x="85546" y="326939"/>
                  </a:cubicBezTo>
                  <a:cubicBezTo>
                    <a:pt x="82307" y="334464"/>
                    <a:pt x="81736" y="340750"/>
                    <a:pt x="77259" y="355514"/>
                  </a:cubicBezTo>
                  <a:cubicBezTo>
                    <a:pt x="72992" y="370530"/>
                    <a:pt x="65143" y="384289"/>
                    <a:pt x="54399" y="395614"/>
                  </a:cubicBezTo>
                  <a:cubicBezTo>
                    <a:pt x="44874" y="404568"/>
                    <a:pt x="39921" y="406282"/>
                    <a:pt x="37349" y="405139"/>
                  </a:cubicBezTo>
                  <a:cubicBezTo>
                    <a:pt x="34777" y="403996"/>
                    <a:pt x="34206" y="400186"/>
                    <a:pt x="38111" y="395614"/>
                  </a:cubicBezTo>
                  <a:cubicBezTo>
                    <a:pt x="44836" y="388828"/>
                    <a:pt x="50284" y="380892"/>
                    <a:pt x="54208" y="372183"/>
                  </a:cubicBezTo>
                  <a:cubicBezTo>
                    <a:pt x="54208" y="372183"/>
                    <a:pt x="46112" y="382565"/>
                    <a:pt x="40778" y="388375"/>
                  </a:cubicBezTo>
                  <a:cubicBezTo>
                    <a:pt x="36044" y="393624"/>
                    <a:pt x="30596" y="398178"/>
                    <a:pt x="24586" y="401901"/>
                  </a:cubicBezTo>
                  <a:cubicBezTo>
                    <a:pt x="18775" y="405425"/>
                    <a:pt x="9536" y="401234"/>
                    <a:pt x="13346" y="396567"/>
                  </a:cubicBezTo>
                  <a:cubicBezTo>
                    <a:pt x="17156" y="391900"/>
                    <a:pt x="21442" y="389233"/>
                    <a:pt x="29253" y="380470"/>
                  </a:cubicBezTo>
                  <a:cubicBezTo>
                    <a:pt x="33444" y="375880"/>
                    <a:pt x="37063" y="370793"/>
                    <a:pt x="40016" y="365325"/>
                  </a:cubicBezTo>
                  <a:cubicBezTo>
                    <a:pt x="34473" y="370853"/>
                    <a:pt x="28481" y="375918"/>
                    <a:pt x="22109" y="380470"/>
                  </a:cubicBezTo>
                  <a:cubicBezTo>
                    <a:pt x="17156" y="384430"/>
                    <a:pt x="11174" y="386907"/>
                    <a:pt x="4869" y="387613"/>
                  </a:cubicBezTo>
                  <a:cubicBezTo>
                    <a:pt x="1630" y="387613"/>
                    <a:pt x="-2942" y="383803"/>
                    <a:pt x="2583" y="378565"/>
                  </a:cubicBezTo>
                  <a:cubicBezTo>
                    <a:pt x="10451" y="373116"/>
                    <a:pt x="17613" y="366718"/>
                    <a:pt x="23919" y="359515"/>
                  </a:cubicBezTo>
                  <a:cubicBezTo>
                    <a:pt x="29824" y="351990"/>
                    <a:pt x="32872" y="345799"/>
                    <a:pt x="30967" y="345989"/>
                  </a:cubicBezTo>
                  <a:cubicBezTo>
                    <a:pt x="29062" y="346180"/>
                    <a:pt x="25919" y="350752"/>
                    <a:pt x="18394" y="354276"/>
                  </a:cubicBezTo>
                  <a:cubicBezTo>
                    <a:pt x="10870" y="357800"/>
                    <a:pt x="2011" y="356562"/>
                    <a:pt x="487" y="352371"/>
                  </a:cubicBezTo>
                  <a:cubicBezTo>
                    <a:pt x="-1037" y="348180"/>
                    <a:pt x="1249" y="350085"/>
                    <a:pt x="8203" y="345513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1" name="Google Shape;201;p12"/>
            <p:cNvSpPr/>
            <p:nvPr/>
          </p:nvSpPr>
          <p:spPr>
            <a:xfrm>
              <a:off x="6792998" y="823141"/>
              <a:ext cx="55907" cy="71103"/>
            </a:xfrm>
            <a:custGeom>
              <a:avLst/>
              <a:gdLst/>
              <a:ahLst/>
              <a:cxnLst/>
              <a:rect l="l" t="t" r="r" b="b"/>
              <a:pathLst>
                <a:path w="69928" h="88934" extrusionOk="0">
                  <a:moveTo>
                    <a:pt x="69928" y="69255"/>
                  </a:moveTo>
                  <a:cubicBezTo>
                    <a:pt x="69928" y="69255"/>
                    <a:pt x="43163" y="93068"/>
                    <a:pt x="13350" y="88305"/>
                  </a:cubicBezTo>
                  <a:lnTo>
                    <a:pt x="1348" y="38299"/>
                  </a:lnTo>
                  <a:cubicBezTo>
                    <a:pt x="1348" y="38299"/>
                    <a:pt x="-6558" y="12105"/>
                    <a:pt x="15921" y="2104"/>
                  </a:cubicBezTo>
                  <a:cubicBezTo>
                    <a:pt x="38400" y="-7897"/>
                    <a:pt x="60212" y="18296"/>
                    <a:pt x="69928" y="6925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" name="Google Shape;202;p12"/>
            <p:cNvSpPr/>
            <p:nvPr/>
          </p:nvSpPr>
          <p:spPr>
            <a:xfrm>
              <a:off x="6683350" y="808424"/>
              <a:ext cx="47823" cy="50210"/>
            </a:xfrm>
            <a:custGeom>
              <a:avLst/>
              <a:gdLst/>
              <a:ahLst/>
              <a:cxnLst/>
              <a:rect l="l" t="t" r="r" b="b"/>
              <a:pathLst>
                <a:path w="59816" h="62802" extrusionOk="0">
                  <a:moveTo>
                    <a:pt x="59817" y="413"/>
                  </a:moveTo>
                  <a:cubicBezTo>
                    <a:pt x="59817" y="413"/>
                    <a:pt x="30766" y="-8445"/>
                    <a:pt x="0" y="55849"/>
                  </a:cubicBezTo>
                  <a:lnTo>
                    <a:pt x="11525" y="62802"/>
                  </a:lnTo>
                  <a:cubicBezTo>
                    <a:pt x="25917" y="40743"/>
                    <a:pt x="42072" y="19879"/>
                    <a:pt x="59817" y="413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203" name="Google Shape;203;p12"/>
            <p:cNvGrpSpPr/>
            <p:nvPr/>
          </p:nvGrpSpPr>
          <p:grpSpPr>
            <a:xfrm flipH="1">
              <a:off x="5678143" y="1227582"/>
              <a:ext cx="345795" cy="1043508"/>
              <a:chOff x="5678143" y="1151382"/>
              <a:chExt cx="345795" cy="1043508"/>
            </a:xfrm>
          </p:grpSpPr>
          <p:sp>
            <p:nvSpPr>
              <p:cNvPr id="204" name="Google Shape;204;p12"/>
              <p:cNvSpPr/>
              <p:nvPr/>
            </p:nvSpPr>
            <p:spPr>
              <a:xfrm>
                <a:off x="5678143" y="1995246"/>
                <a:ext cx="345795" cy="199644"/>
              </a:xfrm>
              <a:custGeom>
                <a:avLst/>
                <a:gdLst/>
                <a:ahLst/>
                <a:cxnLst/>
                <a:rect l="l" t="t" r="r" b="b"/>
                <a:pathLst>
                  <a:path w="432244" h="249555" extrusionOk="0">
                    <a:moveTo>
                      <a:pt x="432245" y="124778"/>
                    </a:moveTo>
                    <a:cubicBezTo>
                      <a:pt x="432245" y="193690"/>
                      <a:pt x="335483" y="249555"/>
                      <a:pt x="216122" y="249555"/>
                    </a:cubicBezTo>
                    <a:cubicBezTo>
                      <a:pt x="96761" y="249555"/>
                      <a:pt x="0" y="193690"/>
                      <a:pt x="0" y="124778"/>
                    </a:cubicBezTo>
                    <a:cubicBezTo>
                      <a:pt x="0" y="55865"/>
                      <a:pt x="96761" y="0"/>
                      <a:pt x="216122" y="0"/>
                    </a:cubicBezTo>
                    <a:cubicBezTo>
                      <a:pt x="335483" y="0"/>
                      <a:pt x="432245" y="55865"/>
                      <a:pt x="432245" y="124778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5" name="Google Shape;205;p12"/>
              <p:cNvSpPr/>
              <p:nvPr/>
            </p:nvSpPr>
            <p:spPr>
              <a:xfrm>
                <a:off x="5781662" y="1153715"/>
                <a:ext cx="174078" cy="254926"/>
              </a:xfrm>
              <a:custGeom>
                <a:avLst/>
                <a:gdLst/>
                <a:ahLst/>
                <a:cxnLst/>
                <a:rect l="l" t="t" r="r" b="b"/>
                <a:pathLst>
                  <a:path w="217597" h="318657" extrusionOk="0">
                    <a:moveTo>
                      <a:pt x="77117" y="10535"/>
                    </a:moveTo>
                    <a:cubicBezTo>
                      <a:pt x="85785" y="-3371"/>
                      <a:pt x="151983" y="-12515"/>
                      <a:pt x="173796" y="43587"/>
                    </a:cubicBezTo>
                    <a:cubicBezTo>
                      <a:pt x="181987" y="64828"/>
                      <a:pt x="180749" y="119216"/>
                      <a:pt x="187702" y="153315"/>
                    </a:cubicBezTo>
                    <a:cubicBezTo>
                      <a:pt x="194655" y="187415"/>
                      <a:pt x="210848" y="206846"/>
                      <a:pt x="216277" y="234563"/>
                    </a:cubicBezTo>
                    <a:cubicBezTo>
                      <a:pt x="221706" y="262281"/>
                      <a:pt x="212658" y="308668"/>
                      <a:pt x="145888" y="316954"/>
                    </a:cubicBezTo>
                    <a:cubicBezTo>
                      <a:pt x="79117" y="325241"/>
                      <a:pt x="27778" y="301715"/>
                      <a:pt x="11966" y="280379"/>
                    </a:cubicBezTo>
                    <a:cubicBezTo>
                      <a:pt x="-3845" y="259043"/>
                      <a:pt x="-4131" y="213704"/>
                      <a:pt x="11966" y="189605"/>
                    </a:cubicBezTo>
                    <a:cubicBezTo>
                      <a:pt x="28063" y="165507"/>
                      <a:pt x="40541" y="145505"/>
                      <a:pt x="40541" y="113405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6" name="Google Shape;206;p12"/>
              <p:cNvSpPr/>
              <p:nvPr/>
            </p:nvSpPr>
            <p:spPr>
              <a:xfrm>
                <a:off x="5776639" y="1337053"/>
                <a:ext cx="32518" cy="188360"/>
              </a:xfrm>
              <a:custGeom>
                <a:avLst/>
                <a:gdLst/>
                <a:ahLst/>
                <a:cxnLst/>
                <a:rect l="l" t="t" r="r" b="b"/>
                <a:pathLst>
                  <a:path w="40647" h="235450" extrusionOk="0">
                    <a:moveTo>
                      <a:pt x="4152" y="15917"/>
                    </a:moveTo>
                    <a:cubicBezTo>
                      <a:pt x="4152" y="15917"/>
                      <a:pt x="-11564" y="127074"/>
                      <a:pt x="18154" y="205274"/>
                    </a:cubicBezTo>
                    <a:cubicBezTo>
                      <a:pt x="47872" y="283474"/>
                      <a:pt x="39585" y="184986"/>
                      <a:pt x="39585" y="184986"/>
                    </a:cubicBezTo>
                    <a:lnTo>
                      <a:pt x="32442" y="161554"/>
                    </a:lnTo>
                    <a:cubicBezTo>
                      <a:pt x="32442" y="161554"/>
                      <a:pt x="26536" y="71067"/>
                      <a:pt x="29013" y="48873"/>
                    </a:cubicBezTo>
                    <a:cubicBezTo>
                      <a:pt x="31489" y="26680"/>
                      <a:pt x="30918" y="7630"/>
                      <a:pt x="32442" y="5820"/>
                    </a:cubicBezTo>
                    <a:cubicBezTo>
                      <a:pt x="33966" y="4011"/>
                      <a:pt x="26632" y="486"/>
                      <a:pt x="23488" y="10"/>
                    </a:cubicBezTo>
                    <a:cubicBezTo>
                      <a:pt x="20345" y="-466"/>
                      <a:pt x="4152" y="15917"/>
                      <a:pt x="4152" y="15917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7" name="Google Shape;207;p12"/>
              <p:cNvSpPr/>
              <p:nvPr/>
            </p:nvSpPr>
            <p:spPr>
              <a:xfrm>
                <a:off x="5795186" y="1151382"/>
                <a:ext cx="83137" cy="102663"/>
              </a:xfrm>
              <a:custGeom>
                <a:avLst/>
                <a:gdLst/>
                <a:ahLst/>
                <a:cxnLst/>
                <a:rect l="l" t="t" r="r" b="b"/>
                <a:pathLst>
                  <a:path w="103921" h="128329" extrusionOk="0">
                    <a:moveTo>
                      <a:pt x="103921" y="3833"/>
                    </a:moveTo>
                    <a:cubicBezTo>
                      <a:pt x="103921" y="3833"/>
                      <a:pt x="54105" y="-10550"/>
                      <a:pt x="23911" y="16406"/>
                    </a:cubicBezTo>
                    <a:cubicBezTo>
                      <a:pt x="3585" y="35104"/>
                      <a:pt x="-4645" y="63564"/>
                      <a:pt x="2575" y="90225"/>
                    </a:cubicBezTo>
                    <a:cubicBezTo>
                      <a:pt x="6576" y="105941"/>
                      <a:pt x="14672" y="127468"/>
                      <a:pt x="27150" y="128325"/>
                    </a:cubicBezTo>
                    <a:cubicBezTo>
                      <a:pt x="39627" y="129182"/>
                      <a:pt x="103921" y="3833"/>
                      <a:pt x="103921" y="3833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8" name="Google Shape;208;p12"/>
              <p:cNvSpPr/>
              <p:nvPr/>
            </p:nvSpPr>
            <p:spPr>
              <a:xfrm>
                <a:off x="5811517" y="1263498"/>
                <a:ext cx="102898" cy="115088"/>
              </a:xfrm>
              <a:custGeom>
                <a:avLst/>
                <a:gdLst/>
                <a:ahLst/>
                <a:cxnLst/>
                <a:rect l="l" t="t" r="r" b="b"/>
                <a:pathLst>
                  <a:path w="128622" h="143860" extrusionOk="0">
                    <a:moveTo>
                      <a:pt x="102545" y="0"/>
                    </a:moveTo>
                    <a:cubicBezTo>
                      <a:pt x="102545" y="0"/>
                      <a:pt x="99307" y="55531"/>
                      <a:pt x="100355" y="59627"/>
                    </a:cubicBezTo>
                    <a:cubicBezTo>
                      <a:pt x="101402" y="63722"/>
                      <a:pt x="122071" y="67628"/>
                      <a:pt x="127977" y="72485"/>
                    </a:cubicBezTo>
                    <a:cubicBezTo>
                      <a:pt x="133883" y="77343"/>
                      <a:pt x="97783" y="133636"/>
                      <a:pt x="79400" y="142018"/>
                    </a:cubicBezTo>
                    <a:cubicBezTo>
                      <a:pt x="61016" y="150400"/>
                      <a:pt x="4343" y="129064"/>
                      <a:pt x="437" y="100774"/>
                    </a:cubicBezTo>
                    <a:cubicBezTo>
                      <a:pt x="-3182" y="74866"/>
                      <a:pt x="16630" y="54673"/>
                      <a:pt x="24345" y="47625"/>
                    </a:cubicBezTo>
                    <a:cubicBezTo>
                      <a:pt x="29546" y="47282"/>
                      <a:pt x="34765" y="47282"/>
                      <a:pt x="39966" y="47625"/>
                    </a:cubicBezTo>
                    <a:lnTo>
                      <a:pt x="41585" y="20764"/>
                    </a:lnTo>
                    <a:cubicBezTo>
                      <a:pt x="66446" y="11906"/>
                      <a:pt x="102545" y="0"/>
                      <a:pt x="102545" y="0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9" name="Google Shape;209;p12"/>
              <p:cNvSpPr/>
              <p:nvPr/>
            </p:nvSpPr>
            <p:spPr>
              <a:xfrm>
                <a:off x="5781607" y="1300507"/>
                <a:ext cx="149918" cy="172167"/>
              </a:xfrm>
              <a:custGeom>
                <a:avLst/>
                <a:gdLst/>
                <a:ahLst/>
                <a:cxnLst/>
                <a:rect l="l" t="t" r="r" b="b"/>
                <a:pathLst>
                  <a:path w="187397" h="215209" extrusionOk="0">
                    <a:moveTo>
                      <a:pt x="147575" y="18193"/>
                    </a:moveTo>
                    <a:cubicBezTo>
                      <a:pt x="163196" y="20669"/>
                      <a:pt x="181008" y="28956"/>
                      <a:pt x="183485" y="37243"/>
                    </a:cubicBezTo>
                    <a:cubicBezTo>
                      <a:pt x="189933" y="68008"/>
                      <a:pt x="188390" y="99917"/>
                      <a:pt x="179008" y="129921"/>
                    </a:cubicBezTo>
                    <a:cubicBezTo>
                      <a:pt x="165482" y="165640"/>
                      <a:pt x="156434" y="188405"/>
                      <a:pt x="148623" y="203835"/>
                    </a:cubicBezTo>
                    <a:cubicBezTo>
                      <a:pt x="148623" y="203835"/>
                      <a:pt x="81091" y="232410"/>
                      <a:pt x="26703" y="198977"/>
                    </a:cubicBezTo>
                    <a:cubicBezTo>
                      <a:pt x="26703" y="198977"/>
                      <a:pt x="22893" y="160877"/>
                      <a:pt x="22703" y="140208"/>
                    </a:cubicBezTo>
                    <a:cubicBezTo>
                      <a:pt x="-27589" y="96393"/>
                      <a:pt x="15368" y="42291"/>
                      <a:pt x="57945" y="286"/>
                    </a:cubicBezTo>
                    <a:cubicBezTo>
                      <a:pt x="63050" y="-95"/>
                      <a:pt x="68175" y="-95"/>
                      <a:pt x="73280" y="286"/>
                    </a:cubicBezTo>
                    <a:cubicBezTo>
                      <a:pt x="73280" y="286"/>
                      <a:pt x="35180" y="45244"/>
                      <a:pt x="61755" y="70771"/>
                    </a:cubicBezTo>
                    <a:cubicBezTo>
                      <a:pt x="118238" y="53721"/>
                      <a:pt x="129478" y="28384"/>
                      <a:pt x="147575" y="18193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0" name="Google Shape;210;p12"/>
              <p:cNvSpPr/>
              <p:nvPr/>
            </p:nvSpPr>
            <p:spPr>
              <a:xfrm>
                <a:off x="5808246" y="1159602"/>
                <a:ext cx="110823" cy="136345"/>
              </a:xfrm>
              <a:custGeom>
                <a:avLst/>
                <a:gdLst/>
                <a:ahLst/>
                <a:cxnLst/>
                <a:rect l="l" t="t" r="r" b="b"/>
                <a:pathLst>
                  <a:path w="138529" h="170431" extrusionOk="0">
                    <a:moveTo>
                      <a:pt x="2908" y="60608"/>
                    </a:moveTo>
                    <a:lnTo>
                      <a:pt x="2908" y="60608"/>
                    </a:lnTo>
                    <a:cubicBezTo>
                      <a:pt x="8528" y="24890"/>
                      <a:pt x="34245" y="-2066"/>
                      <a:pt x="71107" y="125"/>
                    </a:cubicBezTo>
                    <a:cubicBezTo>
                      <a:pt x="110150" y="1972"/>
                      <a:pt x="140297" y="35129"/>
                      <a:pt x="138449" y="74172"/>
                    </a:cubicBezTo>
                    <a:cubicBezTo>
                      <a:pt x="137372" y="96775"/>
                      <a:pt x="125552" y="117511"/>
                      <a:pt x="106635" y="129950"/>
                    </a:cubicBezTo>
                    <a:cubicBezTo>
                      <a:pt x="105369" y="135322"/>
                      <a:pt x="103483" y="140533"/>
                      <a:pt x="101016" y="145476"/>
                    </a:cubicBezTo>
                    <a:cubicBezTo>
                      <a:pt x="87966" y="160716"/>
                      <a:pt x="53391" y="170336"/>
                      <a:pt x="41865" y="170432"/>
                    </a:cubicBezTo>
                    <a:cubicBezTo>
                      <a:pt x="32340" y="170432"/>
                      <a:pt x="23482" y="161383"/>
                      <a:pt x="14243" y="146048"/>
                    </a:cubicBezTo>
                    <a:cubicBezTo>
                      <a:pt x="-5093" y="113663"/>
                      <a:pt x="-140" y="78230"/>
                      <a:pt x="2908" y="60608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1" name="Google Shape;211;p12"/>
              <p:cNvSpPr/>
              <p:nvPr/>
            </p:nvSpPr>
            <p:spPr>
              <a:xfrm>
                <a:off x="5812703" y="1158869"/>
                <a:ext cx="110779" cy="104694"/>
              </a:xfrm>
              <a:custGeom>
                <a:avLst/>
                <a:gdLst/>
                <a:ahLst/>
                <a:cxnLst/>
                <a:rect l="l" t="t" r="r" b="b"/>
                <a:pathLst>
                  <a:path w="138474" h="130867" extrusionOk="0">
                    <a:moveTo>
                      <a:pt x="76867" y="1709"/>
                    </a:moveTo>
                    <a:cubicBezTo>
                      <a:pt x="102679" y="6757"/>
                      <a:pt x="123920" y="13996"/>
                      <a:pt x="130969" y="39332"/>
                    </a:cubicBezTo>
                    <a:cubicBezTo>
                      <a:pt x="135731" y="56858"/>
                      <a:pt x="142018" y="90101"/>
                      <a:pt x="136017" y="104102"/>
                    </a:cubicBezTo>
                    <a:lnTo>
                      <a:pt x="132398" y="114294"/>
                    </a:lnTo>
                    <a:lnTo>
                      <a:pt x="101060" y="130868"/>
                    </a:lnTo>
                    <a:cubicBezTo>
                      <a:pt x="101060" y="130868"/>
                      <a:pt x="86487" y="118676"/>
                      <a:pt x="91059" y="83243"/>
                    </a:cubicBezTo>
                    <a:cubicBezTo>
                      <a:pt x="90850" y="78423"/>
                      <a:pt x="89335" y="73746"/>
                      <a:pt x="86678" y="69717"/>
                    </a:cubicBezTo>
                    <a:cubicBezTo>
                      <a:pt x="84687" y="66364"/>
                      <a:pt x="83211" y="62735"/>
                      <a:pt x="82296" y="58954"/>
                    </a:cubicBezTo>
                    <a:cubicBezTo>
                      <a:pt x="78591" y="49353"/>
                      <a:pt x="71371" y="41514"/>
                      <a:pt x="62103" y="37046"/>
                    </a:cubicBezTo>
                    <a:cubicBezTo>
                      <a:pt x="38767" y="23997"/>
                      <a:pt x="4953" y="35237"/>
                      <a:pt x="0" y="39999"/>
                    </a:cubicBezTo>
                    <a:cubicBezTo>
                      <a:pt x="13221" y="10548"/>
                      <a:pt x="45396" y="-5483"/>
                      <a:pt x="76867" y="1709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2" name="Google Shape;212;p12"/>
              <p:cNvSpPr/>
              <p:nvPr/>
            </p:nvSpPr>
            <p:spPr>
              <a:xfrm>
                <a:off x="5898276" y="1323720"/>
                <a:ext cx="74471" cy="246223"/>
              </a:xfrm>
              <a:custGeom>
                <a:avLst/>
                <a:gdLst/>
                <a:ahLst/>
                <a:cxnLst/>
                <a:rect l="l" t="t" r="r" b="b"/>
                <a:pathLst>
                  <a:path w="93089" h="307779" extrusionOk="0">
                    <a:moveTo>
                      <a:pt x="39367" y="248524"/>
                    </a:moveTo>
                    <a:cubicBezTo>
                      <a:pt x="45177" y="212329"/>
                      <a:pt x="56036" y="188898"/>
                      <a:pt x="50988" y="168990"/>
                    </a:cubicBezTo>
                    <a:cubicBezTo>
                      <a:pt x="39739" y="128738"/>
                      <a:pt x="25013" y="89542"/>
                      <a:pt x="6982" y="51833"/>
                    </a:cubicBezTo>
                    <a:cubicBezTo>
                      <a:pt x="-4448" y="29354"/>
                      <a:pt x="-924" y="13733"/>
                      <a:pt x="10887" y="4779"/>
                    </a:cubicBezTo>
                    <a:cubicBezTo>
                      <a:pt x="24222" y="-4746"/>
                      <a:pt x="36891" y="-840"/>
                      <a:pt x="48987" y="23829"/>
                    </a:cubicBezTo>
                    <a:cubicBezTo>
                      <a:pt x="64132" y="55167"/>
                      <a:pt x="81086" y="87361"/>
                      <a:pt x="89373" y="134034"/>
                    </a:cubicBezTo>
                    <a:cubicBezTo>
                      <a:pt x="94688" y="164228"/>
                      <a:pt x="94298" y="195136"/>
                      <a:pt x="88230" y="225188"/>
                    </a:cubicBezTo>
                    <a:cubicBezTo>
                      <a:pt x="83087" y="257668"/>
                      <a:pt x="72800" y="275956"/>
                      <a:pt x="60513" y="306436"/>
                    </a:cubicBezTo>
                    <a:cubicBezTo>
                      <a:pt x="57084" y="315199"/>
                      <a:pt x="34414" y="279385"/>
                      <a:pt x="39367" y="248524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3" name="Google Shape;213;p12"/>
              <p:cNvSpPr/>
              <p:nvPr/>
            </p:nvSpPr>
            <p:spPr>
              <a:xfrm>
                <a:off x="5831068" y="2061801"/>
                <a:ext cx="86995" cy="66513"/>
              </a:xfrm>
              <a:custGeom>
                <a:avLst/>
                <a:gdLst/>
                <a:ahLst/>
                <a:cxnLst/>
                <a:rect l="l" t="t" r="r" b="b"/>
                <a:pathLst>
                  <a:path w="108744" h="83141" extrusionOk="0">
                    <a:moveTo>
                      <a:pt x="100855" y="2"/>
                    </a:moveTo>
                    <a:cubicBezTo>
                      <a:pt x="87806" y="10575"/>
                      <a:pt x="67423" y="3241"/>
                      <a:pt x="66470" y="4194"/>
                    </a:cubicBezTo>
                    <a:cubicBezTo>
                      <a:pt x="51297" y="17281"/>
                      <a:pt x="35400" y="29492"/>
                      <a:pt x="18845" y="40769"/>
                    </a:cubicBezTo>
                    <a:cubicBezTo>
                      <a:pt x="10654" y="47151"/>
                      <a:pt x="-2014" y="55724"/>
                      <a:pt x="271" y="68106"/>
                    </a:cubicBezTo>
                    <a:cubicBezTo>
                      <a:pt x="4367" y="90109"/>
                      <a:pt x="39610" y="83346"/>
                      <a:pt x="52945" y="76584"/>
                    </a:cubicBezTo>
                    <a:cubicBezTo>
                      <a:pt x="66280" y="69821"/>
                      <a:pt x="77043" y="58677"/>
                      <a:pt x="89616" y="50866"/>
                    </a:cubicBezTo>
                    <a:cubicBezTo>
                      <a:pt x="98665" y="45246"/>
                      <a:pt x="107428" y="42389"/>
                      <a:pt x="108666" y="31054"/>
                    </a:cubicBezTo>
                    <a:cubicBezTo>
                      <a:pt x="109523" y="24196"/>
                      <a:pt x="103142" y="-283"/>
                      <a:pt x="100855" y="2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4" name="Google Shape;214;p12"/>
              <p:cNvSpPr/>
              <p:nvPr/>
            </p:nvSpPr>
            <p:spPr>
              <a:xfrm>
                <a:off x="5831514" y="2082973"/>
                <a:ext cx="86563" cy="44990"/>
              </a:xfrm>
              <a:custGeom>
                <a:avLst/>
                <a:gdLst/>
                <a:ahLst/>
                <a:cxnLst/>
                <a:rect l="l" t="t" r="r" b="b"/>
                <a:pathLst>
                  <a:path w="108204" h="56238" extrusionOk="0">
                    <a:moveTo>
                      <a:pt x="107918" y="0"/>
                    </a:moveTo>
                    <a:cubicBezTo>
                      <a:pt x="106204" y="10859"/>
                      <a:pt x="97536" y="13907"/>
                      <a:pt x="88868" y="19050"/>
                    </a:cubicBezTo>
                    <a:cubicBezTo>
                      <a:pt x="76105" y="26956"/>
                      <a:pt x="64865" y="38100"/>
                      <a:pt x="51530" y="45149"/>
                    </a:cubicBezTo>
                    <a:cubicBezTo>
                      <a:pt x="38195" y="52197"/>
                      <a:pt x="8573" y="57531"/>
                      <a:pt x="0" y="41815"/>
                    </a:cubicBezTo>
                    <a:cubicBezTo>
                      <a:pt x="4667" y="63056"/>
                      <a:pt x="39338" y="56388"/>
                      <a:pt x="52483" y="49721"/>
                    </a:cubicBezTo>
                    <a:cubicBezTo>
                      <a:pt x="65627" y="43053"/>
                      <a:pt x="76581" y="31814"/>
                      <a:pt x="89154" y="24003"/>
                    </a:cubicBezTo>
                    <a:cubicBezTo>
                      <a:pt x="98203" y="18383"/>
                      <a:pt x="106966" y="15526"/>
                      <a:pt x="108204" y="4191"/>
                    </a:cubicBezTo>
                    <a:cubicBezTo>
                      <a:pt x="108214" y="2791"/>
                      <a:pt x="108118" y="1391"/>
                      <a:pt x="107918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5" name="Google Shape;215;p12"/>
              <p:cNvSpPr/>
              <p:nvPr/>
            </p:nvSpPr>
            <p:spPr>
              <a:xfrm>
                <a:off x="5764925" y="2047104"/>
                <a:ext cx="79862" cy="61873"/>
              </a:xfrm>
              <a:custGeom>
                <a:avLst/>
                <a:gdLst/>
                <a:ahLst/>
                <a:cxnLst/>
                <a:rect l="l" t="t" r="r" b="b"/>
                <a:pathLst>
                  <a:path w="99827" h="77341" extrusionOk="0">
                    <a:moveTo>
                      <a:pt x="91860" y="1"/>
                    </a:moveTo>
                    <a:cubicBezTo>
                      <a:pt x="79954" y="9526"/>
                      <a:pt x="61856" y="4288"/>
                      <a:pt x="60999" y="5240"/>
                    </a:cubicBezTo>
                    <a:cubicBezTo>
                      <a:pt x="47045" y="17146"/>
                      <a:pt x="32453" y="28281"/>
                      <a:pt x="17279" y="38578"/>
                    </a:cubicBezTo>
                    <a:cubicBezTo>
                      <a:pt x="9754" y="44388"/>
                      <a:pt x="-1771" y="52294"/>
                      <a:pt x="229" y="63533"/>
                    </a:cubicBezTo>
                    <a:cubicBezTo>
                      <a:pt x="4040" y="83726"/>
                      <a:pt x="36329" y="77535"/>
                      <a:pt x="48521" y="71344"/>
                    </a:cubicBezTo>
                    <a:cubicBezTo>
                      <a:pt x="60713" y="65152"/>
                      <a:pt x="70619" y="54961"/>
                      <a:pt x="82145" y="47817"/>
                    </a:cubicBezTo>
                    <a:cubicBezTo>
                      <a:pt x="90336" y="42673"/>
                      <a:pt x="98433" y="40006"/>
                      <a:pt x="99766" y="29624"/>
                    </a:cubicBezTo>
                    <a:cubicBezTo>
                      <a:pt x="100528" y="23338"/>
                      <a:pt x="94051" y="-189"/>
                      <a:pt x="91860" y="1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6" name="Google Shape;216;p12"/>
              <p:cNvSpPr/>
              <p:nvPr/>
            </p:nvSpPr>
            <p:spPr>
              <a:xfrm>
                <a:off x="5764880" y="2067438"/>
                <a:ext cx="79629" cy="41383"/>
              </a:xfrm>
              <a:custGeom>
                <a:avLst/>
                <a:gdLst/>
                <a:ahLst/>
                <a:cxnLst/>
                <a:rect l="l" t="t" r="r" b="b"/>
                <a:pathLst>
                  <a:path w="99536" h="51729" extrusionOk="0">
                    <a:moveTo>
                      <a:pt x="99536" y="0"/>
                    </a:moveTo>
                    <a:cubicBezTo>
                      <a:pt x="97917" y="10001"/>
                      <a:pt x="90011" y="12668"/>
                      <a:pt x="81820" y="17812"/>
                    </a:cubicBezTo>
                    <a:cubicBezTo>
                      <a:pt x="70104" y="25051"/>
                      <a:pt x="59817" y="35528"/>
                      <a:pt x="47625" y="41720"/>
                    </a:cubicBezTo>
                    <a:cubicBezTo>
                      <a:pt x="35433" y="47911"/>
                      <a:pt x="8287" y="53054"/>
                      <a:pt x="0" y="38671"/>
                    </a:cubicBezTo>
                    <a:cubicBezTo>
                      <a:pt x="4286" y="57721"/>
                      <a:pt x="36004" y="52006"/>
                      <a:pt x="47625" y="45911"/>
                    </a:cubicBezTo>
                    <a:cubicBezTo>
                      <a:pt x="59246" y="39814"/>
                      <a:pt x="69723" y="29528"/>
                      <a:pt x="81248" y="22384"/>
                    </a:cubicBezTo>
                    <a:cubicBezTo>
                      <a:pt x="89440" y="17240"/>
                      <a:pt x="97536" y="14573"/>
                      <a:pt x="98870" y="4191"/>
                    </a:cubicBezTo>
                    <a:cubicBezTo>
                      <a:pt x="99222" y="2819"/>
                      <a:pt x="99441" y="1419"/>
                      <a:pt x="99536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7" name="Google Shape;217;p12"/>
              <p:cNvSpPr/>
              <p:nvPr/>
            </p:nvSpPr>
            <p:spPr>
              <a:xfrm>
                <a:off x="5777722" y="1472916"/>
                <a:ext cx="170454" cy="595560"/>
              </a:xfrm>
              <a:custGeom>
                <a:avLst/>
                <a:gdLst/>
                <a:ahLst/>
                <a:cxnLst/>
                <a:rect l="l" t="t" r="r" b="b"/>
                <a:pathLst>
                  <a:path w="213068" h="744450" extrusionOk="0">
                    <a:moveTo>
                      <a:pt x="5465" y="110490"/>
                    </a:moveTo>
                    <a:cubicBezTo>
                      <a:pt x="11276" y="65437"/>
                      <a:pt x="27849" y="0"/>
                      <a:pt x="27849" y="0"/>
                    </a:cubicBezTo>
                    <a:cubicBezTo>
                      <a:pt x="43546" y="7372"/>
                      <a:pt x="60529" y="11611"/>
                      <a:pt x="77855" y="12478"/>
                    </a:cubicBezTo>
                    <a:cubicBezTo>
                      <a:pt x="103211" y="12316"/>
                      <a:pt x="128490" y="9830"/>
                      <a:pt x="153388" y="5048"/>
                    </a:cubicBezTo>
                    <a:cubicBezTo>
                      <a:pt x="161532" y="19269"/>
                      <a:pt x="170429" y="33033"/>
                      <a:pt x="180059" y="46291"/>
                    </a:cubicBezTo>
                    <a:cubicBezTo>
                      <a:pt x="193012" y="64294"/>
                      <a:pt x="218159" y="103441"/>
                      <a:pt x="212158" y="172879"/>
                    </a:cubicBezTo>
                    <a:cubicBezTo>
                      <a:pt x="208253" y="217932"/>
                      <a:pt x="182916" y="409480"/>
                      <a:pt x="182916" y="409480"/>
                    </a:cubicBezTo>
                    <a:cubicBezTo>
                      <a:pt x="192755" y="441693"/>
                      <a:pt x="197985" y="475145"/>
                      <a:pt x="198442" y="508826"/>
                    </a:cubicBezTo>
                    <a:cubicBezTo>
                      <a:pt x="196156" y="548821"/>
                      <a:pt x="190869" y="588588"/>
                      <a:pt x="182630" y="627793"/>
                    </a:cubicBezTo>
                    <a:lnTo>
                      <a:pt x="167581" y="736568"/>
                    </a:lnTo>
                    <a:cubicBezTo>
                      <a:pt x="167581" y="736568"/>
                      <a:pt x="147483" y="751046"/>
                      <a:pt x="133195" y="740759"/>
                    </a:cubicBezTo>
                    <a:lnTo>
                      <a:pt x="135005" y="634365"/>
                    </a:lnTo>
                    <a:cubicBezTo>
                      <a:pt x="133291" y="608362"/>
                      <a:pt x="130719" y="569976"/>
                      <a:pt x="129004" y="545402"/>
                    </a:cubicBezTo>
                    <a:cubicBezTo>
                      <a:pt x="126337" y="505492"/>
                      <a:pt x="119479" y="442055"/>
                      <a:pt x="117098" y="426148"/>
                    </a:cubicBezTo>
                    <a:cubicBezTo>
                      <a:pt x="114717" y="410242"/>
                      <a:pt x="109954" y="382619"/>
                      <a:pt x="107573" y="351568"/>
                    </a:cubicBezTo>
                    <a:cubicBezTo>
                      <a:pt x="105192" y="320516"/>
                      <a:pt x="93476" y="162973"/>
                      <a:pt x="93476" y="162973"/>
                    </a:cubicBezTo>
                    <a:lnTo>
                      <a:pt x="91857" y="192500"/>
                    </a:lnTo>
                    <a:cubicBezTo>
                      <a:pt x="91857" y="192500"/>
                      <a:pt x="90238" y="240125"/>
                      <a:pt x="83380" y="299561"/>
                    </a:cubicBezTo>
                    <a:cubicBezTo>
                      <a:pt x="76522" y="358997"/>
                      <a:pt x="73855" y="385286"/>
                      <a:pt x="73855" y="385286"/>
                    </a:cubicBezTo>
                    <a:cubicBezTo>
                      <a:pt x="80370" y="397183"/>
                      <a:pt x="84932" y="410042"/>
                      <a:pt x="87380" y="423386"/>
                    </a:cubicBezTo>
                    <a:cubicBezTo>
                      <a:pt x="88619" y="436150"/>
                      <a:pt x="103192" y="537686"/>
                      <a:pt x="94429" y="588740"/>
                    </a:cubicBezTo>
                    <a:lnTo>
                      <a:pt x="76712" y="719138"/>
                    </a:lnTo>
                    <a:cubicBezTo>
                      <a:pt x="67645" y="725376"/>
                      <a:pt x="56138" y="726900"/>
                      <a:pt x="45756" y="723233"/>
                    </a:cubicBezTo>
                    <a:lnTo>
                      <a:pt x="35183" y="591407"/>
                    </a:lnTo>
                    <a:cubicBezTo>
                      <a:pt x="28135" y="541211"/>
                      <a:pt x="13180" y="434912"/>
                      <a:pt x="10895" y="421100"/>
                    </a:cubicBezTo>
                    <a:cubicBezTo>
                      <a:pt x="5808" y="393268"/>
                      <a:pt x="2817" y="365084"/>
                      <a:pt x="1941" y="336804"/>
                    </a:cubicBezTo>
                    <a:cubicBezTo>
                      <a:pt x="-1583" y="279749"/>
                      <a:pt x="-250" y="155543"/>
                      <a:pt x="5465" y="110490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8" name="Google Shape;218;p12"/>
              <p:cNvSpPr/>
              <p:nvPr/>
            </p:nvSpPr>
            <p:spPr>
              <a:xfrm>
                <a:off x="5770564" y="1458904"/>
                <a:ext cx="181538" cy="396087"/>
              </a:xfrm>
              <a:custGeom>
                <a:avLst/>
                <a:gdLst/>
                <a:ahLst/>
                <a:cxnLst/>
                <a:rect l="l" t="t" r="r" b="b"/>
                <a:pathLst>
                  <a:path w="226922" h="495109" extrusionOk="0">
                    <a:moveTo>
                      <a:pt x="162435" y="6001"/>
                    </a:moveTo>
                    <a:lnTo>
                      <a:pt x="201202" y="83915"/>
                    </a:lnTo>
                    <a:cubicBezTo>
                      <a:pt x="201202" y="83915"/>
                      <a:pt x="260447" y="170593"/>
                      <a:pt x="199106" y="393287"/>
                    </a:cubicBezTo>
                    <a:lnTo>
                      <a:pt x="210631" y="461963"/>
                    </a:lnTo>
                    <a:cubicBezTo>
                      <a:pt x="210631" y="461963"/>
                      <a:pt x="94522" y="536543"/>
                      <a:pt x="16798" y="461963"/>
                    </a:cubicBezTo>
                    <a:cubicBezTo>
                      <a:pt x="16798" y="461963"/>
                      <a:pt x="-10158" y="256127"/>
                      <a:pt x="4224" y="161258"/>
                    </a:cubicBezTo>
                    <a:cubicBezTo>
                      <a:pt x="12149" y="106661"/>
                      <a:pt x="24246" y="52749"/>
                      <a:pt x="40420" y="0"/>
                    </a:cubicBezTo>
                    <a:cubicBezTo>
                      <a:pt x="40420" y="0"/>
                      <a:pt x="59470" y="21050"/>
                      <a:pt x="157291" y="7144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9" name="Google Shape;219;p12"/>
              <p:cNvSpPr/>
              <p:nvPr/>
            </p:nvSpPr>
            <p:spPr>
              <a:xfrm>
                <a:off x="5895126" y="1321170"/>
                <a:ext cx="61010" cy="76023"/>
              </a:xfrm>
              <a:custGeom>
                <a:avLst/>
                <a:gdLst/>
                <a:ahLst/>
                <a:cxnLst/>
                <a:rect l="l" t="t" r="r" b="b"/>
                <a:pathLst>
                  <a:path w="76263" h="95029" extrusionOk="0">
                    <a:moveTo>
                      <a:pt x="76263" y="71216"/>
                    </a:moveTo>
                    <a:cubicBezTo>
                      <a:pt x="76263" y="71216"/>
                      <a:pt x="49307" y="98076"/>
                      <a:pt x="17303" y="94743"/>
                    </a:cubicBezTo>
                    <a:lnTo>
                      <a:pt x="1968" y="42165"/>
                    </a:lnTo>
                    <a:cubicBezTo>
                      <a:pt x="1968" y="42165"/>
                      <a:pt x="-7557" y="14828"/>
                      <a:pt x="15303" y="2826"/>
                    </a:cubicBezTo>
                    <a:cubicBezTo>
                      <a:pt x="38163" y="-9175"/>
                      <a:pt x="62833" y="17685"/>
                      <a:pt x="76263" y="71216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0" name="Google Shape;220;p12"/>
              <p:cNvSpPr/>
              <p:nvPr/>
            </p:nvSpPr>
            <p:spPr>
              <a:xfrm>
                <a:off x="5777141" y="1300603"/>
                <a:ext cx="50825" cy="53396"/>
              </a:xfrm>
              <a:custGeom>
                <a:avLst/>
                <a:gdLst/>
                <a:ahLst/>
                <a:cxnLst/>
                <a:rect l="l" t="t" r="r" b="b"/>
                <a:pathLst>
                  <a:path w="63531" h="66745" extrusionOk="0">
                    <a:moveTo>
                      <a:pt x="63532" y="451"/>
                    </a:moveTo>
                    <a:cubicBezTo>
                      <a:pt x="63532" y="451"/>
                      <a:pt x="32671" y="-9074"/>
                      <a:pt x="0" y="59411"/>
                    </a:cubicBezTo>
                    <a:lnTo>
                      <a:pt x="12192" y="66745"/>
                    </a:lnTo>
                    <a:cubicBezTo>
                      <a:pt x="27499" y="43304"/>
                      <a:pt x="44663" y="21130"/>
                      <a:pt x="63532" y="451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221" name="Google Shape;221;p12"/>
            <p:cNvGrpSpPr/>
            <p:nvPr/>
          </p:nvGrpSpPr>
          <p:grpSpPr>
            <a:xfrm>
              <a:off x="5122427" y="3292365"/>
              <a:ext cx="823270" cy="1268939"/>
              <a:chOff x="5490177" y="3555452"/>
              <a:chExt cx="823270" cy="1268939"/>
            </a:xfrm>
          </p:grpSpPr>
          <p:sp>
            <p:nvSpPr>
              <p:cNvPr id="222" name="Google Shape;222;p12"/>
              <p:cNvSpPr/>
              <p:nvPr/>
            </p:nvSpPr>
            <p:spPr>
              <a:xfrm>
                <a:off x="5967652" y="4624747"/>
                <a:ext cx="345795" cy="199644"/>
              </a:xfrm>
              <a:custGeom>
                <a:avLst/>
                <a:gdLst/>
                <a:ahLst/>
                <a:cxnLst/>
                <a:rect l="l" t="t" r="r" b="b"/>
                <a:pathLst>
                  <a:path w="432244" h="249555" extrusionOk="0">
                    <a:moveTo>
                      <a:pt x="432245" y="124777"/>
                    </a:moveTo>
                    <a:cubicBezTo>
                      <a:pt x="432245" y="193690"/>
                      <a:pt x="335483" y="249555"/>
                      <a:pt x="216122" y="249555"/>
                    </a:cubicBezTo>
                    <a:cubicBezTo>
                      <a:pt x="96761" y="249555"/>
                      <a:pt x="0" y="193690"/>
                      <a:pt x="0" y="124777"/>
                    </a:cubicBezTo>
                    <a:cubicBezTo>
                      <a:pt x="0" y="55865"/>
                      <a:pt x="96761" y="0"/>
                      <a:pt x="216122" y="0"/>
                    </a:cubicBezTo>
                    <a:cubicBezTo>
                      <a:pt x="335483" y="0"/>
                      <a:pt x="432245" y="55865"/>
                      <a:pt x="432245" y="124777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3" name="Google Shape;223;p12"/>
              <p:cNvSpPr/>
              <p:nvPr/>
            </p:nvSpPr>
            <p:spPr>
              <a:xfrm>
                <a:off x="6225123" y="3957880"/>
                <a:ext cx="68002" cy="244678"/>
              </a:xfrm>
              <a:custGeom>
                <a:avLst/>
                <a:gdLst/>
                <a:ahLst/>
                <a:cxnLst/>
                <a:rect l="l" t="t" r="r" b="b"/>
                <a:pathLst>
                  <a:path w="85002" h="305847" extrusionOk="0">
                    <a:moveTo>
                      <a:pt x="18764" y="0"/>
                    </a:moveTo>
                    <a:cubicBezTo>
                      <a:pt x="37814" y="5429"/>
                      <a:pt x="48482" y="26289"/>
                      <a:pt x="65056" y="70961"/>
                    </a:cubicBezTo>
                    <a:cubicBezTo>
                      <a:pt x="78848" y="111490"/>
                      <a:pt x="85582" y="154076"/>
                      <a:pt x="84963" y="196882"/>
                    </a:cubicBezTo>
                    <a:cubicBezTo>
                      <a:pt x="79629" y="238982"/>
                      <a:pt x="62198" y="271748"/>
                      <a:pt x="20098" y="305848"/>
                    </a:cubicBezTo>
                    <a:lnTo>
                      <a:pt x="0" y="268986"/>
                    </a:lnTo>
                    <a:cubicBezTo>
                      <a:pt x="0" y="268986"/>
                      <a:pt x="41243" y="232600"/>
                      <a:pt x="45434" y="190500"/>
                    </a:cubicBezTo>
                    <a:cubicBezTo>
                      <a:pt x="47815" y="166878"/>
                      <a:pt x="20098" y="87249"/>
                      <a:pt x="20098" y="85058"/>
                    </a:cubicBezTo>
                    <a:cubicBezTo>
                      <a:pt x="20098" y="82867"/>
                      <a:pt x="18764" y="0"/>
                      <a:pt x="18764" y="0"/>
                    </a:cubicBezTo>
                    <a:close/>
                  </a:path>
                </a:pathLst>
              </a:custGeom>
              <a:solidFill>
                <a:srgbClr val="FFCEA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4" name="Google Shape;224;p12"/>
              <p:cNvSpPr/>
              <p:nvPr/>
            </p:nvSpPr>
            <p:spPr>
              <a:xfrm>
                <a:off x="6014262" y="4720102"/>
                <a:ext cx="99120" cy="56094"/>
              </a:xfrm>
              <a:custGeom>
                <a:avLst/>
                <a:gdLst/>
                <a:ahLst/>
                <a:cxnLst/>
                <a:rect l="l" t="t" r="r" b="b"/>
                <a:pathLst>
                  <a:path w="123900" h="70118" extrusionOk="0">
                    <a:moveTo>
                      <a:pt x="117628" y="16845"/>
                    </a:moveTo>
                    <a:cubicBezTo>
                      <a:pt x="104783" y="20750"/>
                      <a:pt x="90877" y="18874"/>
                      <a:pt x="79528" y="11701"/>
                    </a:cubicBezTo>
                    <a:cubicBezTo>
                      <a:pt x="69241" y="11701"/>
                      <a:pt x="8757" y="-12016"/>
                      <a:pt x="1137" y="8082"/>
                    </a:cubicBezTo>
                    <a:cubicBezTo>
                      <a:pt x="-5531" y="25703"/>
                      <a:pt x="18758" y="42086"/>
                      <a:pt x="31617" y="45229"/>
                    </a:cubicBezTo>
                    <a:cubicBezTo>
                      <a:pt x="60192" y="51992"/>
                      <a:pt x="80766" y="66089"/>
                      <a:pt x="92196" y="68470"/>
                    </a:cubicBezTo>
                    <a:cubicBezTo>
                      <a:pt x="100966" y="71585"/>
                      <a:pt x="110703" y="70232"/>
                      <a:pt x="118294" y="64851"/>
                    </a:cubicBezTo>
                    <a:cubicBezTo>
                      <a:pt x="126200" y="56850"/>
                      <a:pt x="125533" y="27322"/>
                      <a:pt x="117628" y="16845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5" name="Google Shape;225;p12"/>
              <p:cNvSpPr/>
              <p:nvPr/>
            </p:nvSpPr>
            <p:spPr>
              <a:xfrm>
                <a:off x="6014165" y="4729456"/>
                <a:ext cx="97551" cy="46733"/>
              </a:xfrm>
              <a:custGeom>
                <a:avLst/>
                <a:gdLst/>
                <a:ahLst/>
                <a:cxnLst/>
                <a:rect l="l" t="t" r="r" b="b"/>
                <a:pathLst>
                  <a:path w="121939" h="58416" extrusionOk="0">
                    <a:moveTo>
                      <a:pt x="92127" y="51911"/>
                    </a:moveTo>
                    <a:cubicBezTo>
                      <a:pt x="80697" y="49530"/>
                      <a:pt x="59837" y="35433"/>
                      <a:pt x="31548" y="28575"/>
                    </a:cubicBezTo>
                    <a:cubicBezTo>
                      <a:pt x="20784" y="26003"/>
                      <a:pt x="2020" y="14097"/>
                      <a:pt x="210" y="0"/>
                    </a:cubicBezTo>
                    <a:cubicBezTo>
                      <a:pt x="-2361" y="16193"/>
                      <a:pt x="19260" y="30575"/>
                      <a:pt x="31548" y="33528"/>
                    </a:cubicBezTo>
                    <a:cubicBezTo>
                      <a:pt x="60123" y="40291"/>
                      <a:pt x="80697" y="54388"/>
                      <a:pt x="92127" y="56769"/>
                    </a:cubicBezTo>
                    <a:cubicBezTo>
                      <a:pt x="100896" y="59884"/>
                      <a:pt x="110634" y="58531"/>
                      <a:pt x="118225" y="53150"/>
                    </a:cubicBezTo>
                    <a:cubicBezTo>
                      <a:pt x="119933" y="51188"/>
                      <a:pt x="121200" y="48882"/>
                      <a:pt x="121940" y="46387"/>
                    </a:cubicBezTo>
                    <a:cubicBezTo>
                      <a:pt x="113425" y="52816"/>
                      <a:pt x="102380" y="54864"/>
                      <a:pt x="92127" y="51911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6" name="Google Shape;226;p12"/>
              <p:cNvSpPr/>
              <p:nvPr/>
            </p:nvSpPr>
            <p:spPr>
              <a:xfrm>
                <a:off x="6140412" y="4656810"/>
                <a:ext cx="95533" cy="53978"/>
              </a:xfrm>
              <a:custGeom>
                <a:avLst/>
                <a:gdLst/>
                <a:ahLst/>
                <a:cxnLst/>
                <a:rect l="l" t="t" r="r" b="b"/>
                <a:pathLst>
                  <a:path w="119416" h="67472" extrusionOk="0">
                    <a:moveTo>
                      <a:pt x="113384" y="16189"/>
                    </a:moveTo>
                    <a:cubicBezTo>
                      <a:pt x="102146" y="20047"/>
                      <a:pt x="89728" y="18161"/>
                      <a:pt x="80142" y="11141"/>
                    </a:cubicBezTo>
                    <a:cubicBezTo>
                      <a:pt x="70617" y="11141"/>
                      <a:pt x="8419" y="-11529"/>
                      <a:pt x="1085" y="7807"/>
                    </a:cubicBezTo>
                    <a:cubicBezTo>
                      <a:pt x="-5297" y="24762"/>
                      <a:pt x="18039" y="40383"/>
                      <a:pt x="30422" y="43431"/>
                    </a:cubicBezTo>
                    <a:cubicBezTo>
                      <a:pt x="57663" y="50003"/>
                      <a:pt x="78047" y="63624"/>
                      <a:pt x="88715" y="65910"/>
                    </a:cubicBezTo>
                    <a:cubicBezTo>
                      <a:pt x="97172" y="68882"/>
                      <a:pt x="106547" y="67567"/>
                      <a:pt x="113861" y="62385"/>
                    </a:cubicBezTo>
                    <a:cubicBezTo>
                      <a:pt x="121671" y="54670"/>
                      <a:pt x="121004" y="26286"/>
                      <a:pt x="113384" y="16189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7" name="Google Shape;227;p12"/>
              <p:cNvSpPr/>
              <p:nvPr/>
            </p:nvSpPr>
            <p:spPr>
              <a:xfrm>
                <a:off x="6140448" y="4665717"/>
                <a:ext cx="93872" cy="45066"/>
              </a:xfrm>
              <a:custGeom>
                <a:avLst/>
                <a:gdLst/>
                <a:ahLst/>
                <a:cxnLst/>
                <a:rect l="l" t="t" r="r" b="b"/>
                <a:pathLst>
                  <a:path w="117340" h="56332" extrusionOk="0">
                    <a:moveTo>
                      <a:pt x="88670" y="50102"/>
                    </a:moveTo>
                    <a:cubicBezTo>
                      <a:pt x="77717" y="47720"/>
                      <a:pt x="57619" y="34195"/>
                      <a:pt x="30377" y="27622"/>
                    </a:cubicBezTo>
                    <a:cubicBezTo>
                      <a:pt x="19995" y="25051"/>
                      <a:pt x="1802" y="13621"/>
                      <a:pt x="183" y="0"/>
                    </a:cubicBezTo>
                    <a:cubicBezTo>
                      <a:pt x="-2198" y="15621"/>
                      <a:pt x="19233" y="29528"/>
                      <a:pt x="30377" y="32290"/>
                    </a:cubicBezTo>
                    <a:cubicBezTo>
                      <a:pt x="57619" y="38862"/>
                      <a:pt x="78002" y="52483"/>
                      <a:pt x="88670" y="54769"/>
                    </a:cubicBezTo>
                    <a:cubicBezTo>
                      <a:pt x="97128" y="57741"/>
                      <a:pt x="106503" y="56426"/>
                      <a:pt x="113816" y="51245"/>
                    </a:cubicBezTo>
                    <a:cubicBezTo>
                      <a:pt x="115496" y="49368"/>
                      <a:pt x="116703" y="47111"/>
                      <a:pt x="117341" y="44672"/>
                    </a:cubicBezTo>
                    <a:cubicBezTo>
                      <a:pt x="109187" y="50930"/>
                      <a:pt x="98547" y="52940"/>
                      <a:pt x="88670" y="50102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8" name="Google Shape;228;p12"/>
              <p:cNvSpPr/>
              <p:nvPr/>
            </p:nvSpPr>
            <p:spPr>
              <a:xfrm>
                <a:off x="6074259" y="4151308"/>
                <a:ext cx="190443" cy="586341"/>
              </a:xfrm>
              <a:custGeom>
                <a:avLst/>
                <a:gdLst/>
                <a:ahLst/>
                <a:cxnLst/>
                <a:rect l="l" t="t" r="r" b="b"/>
                <a:pathLst>
                  <a:path w="238054" h="732926" extrusionOk="0">
                    <a:moveTo>
                      <a:pt x="216416" y="495014"/>
                    </a:moveTo>
                    <a:cubicBezTo>
                      <a:pt x="216443" y="471802"/>
                      <a:pt x="212447" y="448761"/>
                      <a:pt x="204605" y="426911"/>
                    </a:cubicBezTo>
                    <a:cubicBezTo>
                      <a:pt x="204605" y="426911"/>
                      <a:pt x="212415" y="333661"/>
                      <a:pt x="218416" y="272415"/>
                    </a:cubicBezTo>
                    <a:cubicBezTo>
                      <a:pt x="227179" y="182118"/>
                      <a:pt x="241086" y="173164"/>
                      <a:pt x="237466" y="118300"/>
                    </a:cubicBezTo>
                    <a:cubicBezTo>
                      <a:pt x="233847" y="67437"/>
                      <a:pt x="204891" y="34480"/>
                      <a:pt x="197366" y="0"/>
                    </a:cubicBezTo>
                    <a:lnTo>
                      <a:pt x="50014" y="11621"/>
                    </a:lnTo>
                    <a:cubicBezTo>
                      <a:pt x="50014" y="11621"/>
                      <a:pt x="37155" y="53435"/>
                      <a:pt x="20582" y="136684"/>
                    </a:cubicBezTo>
                    <a:cubicBezTo>
                      <a:pt x="4008" y="219932"/>
                      <a:pt x="2865" y="318897"/>
                      <a:pt x="4199" y="449961"/>
                    </a:cubicBezTo>
                    <a:cubicBezTo>
                      <a:pt x="4199" y="483775"/>
                      <a:pt x="-1516" y="513112"/>
                      <a:pt x="389" y="597313"/>
                    </a:cubicBezTo>
                    <a:cubicBezTo>
                      <a:pt x="1722" y="653891"/>
                      <a:pt x="4961" y="723233"/>
                      <a:pt x="4961" y="723233"/>
                    </a:cubicBezTo>
                    <a:cubicBezTo>
                      <a:pt x="26487" y="741712"/>
                      <a:pt x="41442" y="728091"/>
                      <a:pt x="41442" y="728091"/>
                    </a:cubicBezTo>
                    <a:cubicBezTo>
                      <a:pt x="41442" y="728091"/>
                      <a:pt x="79542" y="560451"/>
                      <a:pt x="84780" y="521970"/>
                    </a:cubicBezTo>
                    <a:cubicBezTo>
                      <a:pt x="88780" y="500682"/>
                      <a:pt x="87003" y="478707"/>
                      <a:pt x="79637" y="458343"/>
                    </a:cubicBezTo>
                    <a:cubicBezTo>
                      <a:pt x="79637" y="458343"/>
                      <a:pt x="90686" y="405670"/>
                      <a:pt x="98687" y="364236"/>
                    </a:cubicBezTo>
                    <a:cubicBezTo>
                      <a:pt x="108212" y="313658"/>
                      <a:pt x="133453" y="204502"/>
                      <a:pt x="133453" y="204502"/>
                    </a:cubicBezTo>
                    <a:cubicBezTo>
                      <a:pt x="133453" y="204502"/>
                      <a:pt x="129167" y="372237"/>
                      <a:pt x="136501" y="405289"/>
                    </a:cubicBezTo>
                    <a:cubicBezTo>
                      <a:pt x="143835" y="438340"/>
                      <a:pt x="145074" y="467106"/>
                      <a:pt x="151360" y="512064"/>
                    </a:cubicBezTo>
                    <a:cubicBezTo>
                      <a:pt x="158885" y="566356"/>
                      <a:pt x="162314" y="645890"/>
                      <a:pt x="162314" y="645890"/>
                    </a:cubicBezTo>
                    <a:cubicBezTo>
                      <a:pt x="184793" y="660178"/>
                      <a:pt x="194794" y="649224"/>
                      <a:pt x="194794" y="649224"/>
                    </a:cubicBezTo>
                    <a:cubicBezTo>
                      <a:pt x="194794" y="649224"/>
                      <a:pt x="216416" y="542544"/>
                      <a:pt x="216416" y="495014"/>
                    </a:cubicBezTo>
                    <a:close/>
                  </a:path>
                </a:pathLst>
              </a:custGeom>
              <a:solidFill>
                <a:srgbClr val="FFCEA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9" name="Google Shape;229;p12"/>
              <p:cNvSpPr/>
              <p:nvPr/>
            </p:nvSpPr>
            <p:spPr>
              <a:xfrm>
                <a:off x="6075072" y="4151308"/>
                <a:ext cx="189540" cy="327893"/>
              </a:xfrm>
              <a:custGeom>
                <a:avLst/>
                <a:gdLst/>
                <a:ahLst/>
                <a:cxnLst/>
                <a:rect l="l" t="t" r="r" b="b"/>
                <a:pathLst>
                  <a:path w="236925" h="409866" extrusionOk="0">
                    <a:moveTo>
                      <a:pt x="195968" y="0"/>
                    </a:moveTo>
                    <a:cubicBezTo>
                      <a:pt x="211399" y="15812"/>
                      <a:pt x="236926" y="63913"/>
                      <a:pt x="236926" y="136684"/>
                    </a:cubicBezTo>
                    <a:cubicBezTo>
                      <a:pt x="236926" y="218599"/>
                      <a:pt x="225020" y="202025"/>
                      <a:pt x="219305" y="292227"/>
                    </a:cubicBezTo>
                    <a:lnTo>
                      <a:pt x="213590" y="382429"/>
                    </a:lnTo>
                    <a:cubicBezTo>
                      <a:pt x="213590" y="382429"/>
                      <a:pt x="90431" y="441198"/>
                      <a:pt x="2611" y="386715"/>
                    </a:cubicBezTo>
                    <a:cubicBezTo>
                      <a:pt x="-5200" y="369665"/>
                      <a:pt x="5564" y="179927"/>
                      <a:pt x="20994" y="112490"/>
                    </a:cubicBezTo>
                    <a:cubicBezTo>
                      <a:pt x="36425" y="45053"/>
                      <a:pt x="46997" y="12002"/>
                      <a:pt x="46997" y="12002"/>
                    </a:cubicBezTo>
                    <a:cubicBezTo>
                      <a:pt x="46997" y="12002"/>
                      <a:pt x="160250" y="42577"/>
                      <a:pt x="195968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0" name="Google Shape;230;p12"/>
              <p:cNvSpPr/>
              <p:nvPr/>
            </p:nvSpPr>
            <p:spPr>
              <a:xfrm>
                <a:off x="6112869" y="3797323"/>
                <a:ext cx="128417" cy="206862"/>
              </a:xfrm>
              <a:custGeom>
                <a:avLst/>
                <a:gdLst/>
                <a:ahLst/>
                <a:cxnLst/>
                <a:rect l="l" t="t" r="r" b="b"/>
                <a:pathLst>
                  <a:path w="160521" h="258577" extrusionOk="0">
                    <a:moveTo>
                      <a:pt x="150502" y="199966"/>
                    </a:moveTo>
                    <a:cubicBezTo>
                      <a:pt x="119070" y="198061"/>
                      <a:pt x="116022" y="203299"/>
                      <a:pt x="113545" y="192155"/>
                    </a:cubicBezTo>
                    <a:cubicBezTo>
                      <a:pt x="112688" y="188155"/>
                      <a:pt x="110878" y="160532"/>
                      <a:pt x="110878" y="160532"/>
                    </a:cubicBezTo>
                    <a:cubicBezTo>
                      <a:pt x="113780" y="156846"/>
                      <a:pt x="116422" y="152960"/>
                      <a:pt x="118784" y="148912"/>
                    </a:cubicBezTo>
                    <a:cubicBezTo>
                      <a:pt x="140167" y="136015"/>
                      <a:pt x="154268" y="113831"/>
                      <a:pt x="156884" y="88999"/>
                    </a:cubicBezTo>
                    <a:cubicBezTo>
                      <a:pt x="161490" y="44708"/>
                      <a:pt x="129348" y="5065"/>
                      <a:pt x="85065" y="417"/>
                    </a:cubicBezTo>
                    <a:cubicBezTo>
                      <a:pt x="43441" y="-3869"/>
                      <a:pt x="12771" y="25373"/>
                      <a:pt x="4579" y="65568"/>
                    </a:cubicBezTo>
                    <a:cubicBezTo>
                      <a:pt x="198" y="85380"/>
                      <a:pt x="-4374" y="125861"/>
                      <a:pt x="8008" y="158341"/>
                    </a:cubicBezTo>
                    <a:cubicBezTo>
                      <a:pt x="14961" y="176725"/>
                      <a:pt x="21438" y="189583"/>
                      <a:pt x="38012" y="188917"/>
                    </a:cubicBezTo>
                    <a:cubicBezTo>
                      <a:pt x="43543" y="188422"/>
                      <a:pt x="49023" y="187469"/>
                      <a:pt x="54395" y="186059"/>
                    </a:cubicBezTo>
                    <a:cubicBezTo>
                      <a:pt x="55283" y="193679"/>
                      <a:pt x="55602" y="201347"/>
                      <a:pt x="55347" y="209015"/>
                    </a:cubicBezTo>
                    <a:cubicBezTo>
                      <a:pt x="55347" y="217111"/>
                      <a:pt x="56300" y="221111"/>
                      <a:pt x="40488" y="230827"/>
                    </a:cubicBezTo>
                    <a:cubicBezTo>
                      <a:pt x="24677" y="240542"/>
                      <a:pt x="64301" y="260354"/>
                      <a:pt x="90114" y="258449"/>
                    </a:cubicBezTo>
                    <a:cubicBezTo>
                      <a:pt x="115927" y="256544"/>
                      <a:pt x="144883" y="240923"/>
                      <a:pt x="152883" y="224255"/>
                    </a:cubicBezTo>
                    <a:cubicBezTo>
                      <a:pt x="161646" y="205586"/>
                      <a:pt x="165266" y="200823"/>
                      <a:pt x="150502" y="199966"/>
                    </a:cubicBezTo>
                    <a:close/>
                  </a:path>
                </a:pathLst>
              </a:custGeom>
              <a:solidFill>
                <a:srgbClr val="FFCEA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1" name="Google Shape;231;p12"/>
              <p:cNvSpPr/>
              <p:nvPr/>
            </p:nvSpPr>
            <p:spPr>
              <a:xfrm>
                <a:off x="6244085" y="3981464"/>
                <a:ext cx="49073" cy="87044"/>
              </a:xfrm>
              <a:custGeom>
                <a:avLst/>
                <a:gdLst/>
                <a:ahLst/>
                <a:cxnLst/>
                <a:rect l="l" t="t" r="r" b="b"/>
                <a:pathLst>
                  <a:path w="61341" h="108805" extrusionOk="0">
                    <a:moveTo>
                      <a:pt x="9525" y="108806"/>
                    </a:moveTo>
                    <a:cubicBezTo>
                      <a:pt x="9525" y="108806"/>
                      <a:pt x="45053" y="100805"/>
                      <a:pt x="61341" y="84993"/>
                    </a:cubicBezTo>
                    <a:cubicBezTo>
                      <a:pt x="61341" y="84993"/>
                      <a:pt x="40196" y="18318"/>
                      <a:pt x="26670" y="1745"/>
                    </a:cubicBezTo>
                    <a:cubicBezTo>
                      <a:pt x="13144" y="-14829"/>
                      <a:pt x="0" y="92137"/>
                      <a:pt x="0" y="92137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2" name="Google Shape;232;p12"/>
              <p:cNvSpPr/>
              <p:nvPr/>
            </p:nvSpPr>
            <p:spPr>
              <a:xfrm>
                <a:off x="6106401" y="3956215"/>
                <a:ext cx="153237" cy="219092"/>
              </a:xfrm>
              <a:custGeom>
                <a:avLst/>
                <a:gdLst/>
                <a:ahLst/>
                <a:cxnLst/>
                <a:rect l="l" t="t" r="r" b="b"/>
                <a:pathLst>
                  <a:path w="191546" h="273865" extrusionOk="0">
                    <a:moveTo>
                      <a:pt x="127349" y="560"/>
                    </a:moveTo>
                    <a:cubicBezTo>
                      <a:pt x="133160" y="7799"/>
                      <a:pt x="133826" y="16847"/>
                      <a:pt x="111443" y="22562"/>
                    </a:cubicBezTo>
                    <a:cubicBezTo>
                      <a:pt x="95161" y="27192"/>
                      <a:pt x="77760" y="25839"/>
                      <a:pt x="62389" y="18753"/>
                    </a:cubicBezTo>
                    <a:cubicBezTo>
                      <a:pt x="44747" y="26210"/>
                      <a:pt x="27792" y="35202"/>
                      <a:pt x="11716" y="45613"/>
                    </a:cubicBezTo>
                    <a:cubicBezTo>
                      <a:pt x="-7334" y="108478"/>
                      <a:pt x="8001" y="116574"/>
                      <a:pt x="0" y="161628"/>
                    </a:cubicBezTo>
                    <a:cubicBezTo>
                      <a:pt x="3143" y="184297"/>
                      <a:pt x="6858" y="242780"/>
                      <a:pt x="7810" y="256020"/>
                    </a:cubicBezTo>
                    <a:cubicBezTo>
                      <a:pt x="50578" y="285929"/>
                      <a:pt x="137350" y="275737"/>
                      <a:pt x="156781" y="244019"/>
                    </a:cubicBezTo>
                    <a:cubicBezTo>
                      <a:pt x="157130" y="233455"/>
                      <a:pt x="158116" y="222930"/>
                      <a:pt x="159734" y="212491"/>
                    </a:cubicBezTo>
                    <a:cubicBezTo>
                      <a:pt x="180118" y="136862"/>
                      <a:pt x="196025" y="117241"/>
                      <a:pt x="190405" y="60091"/>
                    </a:cubicBezTo>
                    <a:cubicBezTo>
                      <a:pt x="187166" y="27515"/>
                      <a:pt x="184595" y="11132"/>
                      <a:pt x="167259" y="2369"/>
                    </a:cubicBezTo>
                    <a:cubicBezTo>
                      <a:pt x="154092" y="26"/>
                      <a:pt x="140675" y="-583"/>
                      <a:pt x="127349" y="560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3" name="Google Shape;233;p12"/>
              <p:cNvSpPr/>
              <p:nvPr/>
            </p:nvSpPr>
            <p:spPr>
              <a:xfrm>
                <a:off x="5856250" y="4001330"/>
                <a:ext cx="294998" cy="212364"/>
              </a:xfrm>
              <a:custGeom>
                <a:avLst/>
                <a:gdLst/>
                <a:ahLst/>
                <a:cxnLst/>
                <a:rect l="l" t="t" r="r" b="b"/>
                <a:pathLst>
                  <a:path w="368747" h="265455" extrusionOk="0">
                    <a:moveTo>
                      <a:pt x="47613" y="190066"/>
                    </a:moveTo>
                    <a:cubicBezTo>
                      <a:pt x="57313" y="192152"/>
                      <a:pt x="66860" y="194885"/>
                      <a:pt x="76188" y="198257"/>
                    </a:cubicBezTo>
                    <a:cubicBezTo>
                      <a:pt x="84940" y="202858"/>
                      <a:pt x="94355" y="206077"/>
                      <a:pt x="104097" y="207782"/>
                    </a:cubicBezTo>
                    <a:cubicBezTo>
                      <a:pt x="114574" y="209402"/>
                      <a:pt x="130957" y="203972"/>
                      <a:pt x="159246" y="190637"/>
                    </a:cubicBezTo>
                    <a:cubicBezTo>
                      <a:pt x="190224" y="174759"/>
                      <a:pt x="218251" y="153690"/>
                      <a:pt x="242114" y="128344"/>
                    </a:cubicBezTo>
                    <a:cubicBezTo>
                      <a:pt x="269228" y="96083"/>
                      <a:pt x="293451" y="61507"/>
                      <a:pt x="314504" y="24998"/>
                    </a:cubicBezTo>
                    <a:cubicBezTo>
                      <a:pt x="326791" y="2614"/>
                      <a:pt x="342317" y="-3006"/>
                      <a:pt x="355842" y="1375"/>
                    </a:cubicBezTo>
                    <a:cubicBezTo>
                      <a:pt x="372035" y="6710"/>
                      <a:pt x="374035" y="22807"/>
                      <a:pt x="355842" y="52906"/>
                    </a:cubicBezTo>
                    <a:cubicBezTo>
                      <a:pt x="332617" y="92225"/>
                      <a:pt x="304799" y="128639"/>
                      <a:pt x="272975" y="161396"/>
                    </a:cubicBezTo>
                    <a:cubicBezTo>
                      <a:pt x="247871" y="186503"/>
                      <a:pt x="218651" y="207115"/>
                      <a:pt x="186583" y="222356"/>
                    </a:cubicBezTo>
                    <a:cubicBezTo>
                      <a:pt x="163712" y="234252"/>
                      <a:pt x="139230" y="242758"/>
                      <a:pt x="113907" y="247597"/>
                    </a:cubicBezTo>
                    <a:cubicBezTo>
                      <a:pt x="105049" y="249502"/>
                      <a:pt x="99048" y="253216"/>
                      <a:pt x="82665" y="258932"/>
                    </a:cubicBezTo>
                    <a:cubicBezTo>
                      <a:pt x="66375" y="264856"/>
                      <a:pt x="48897" y="266790"/>
                      <a:pt x="31707" y="264551"/>
                    </a:cubicBezTo>
                    <a:cubicBezTo>
                      <a:pt x="17514" y="261789"/>
                      <a:pt x="12657" y="258550"/>
                      <a:pt x="12085" y="255026"/>
                    </a:cubicBezTo>
                    <a:cubicBezTo>
                      <a:pt x="11514" y="251502"/>
                      <a:pt x="14371" y="249025"/>
                      <a:pt x="21039" y="249502"/>
                    </a:cubicBezTo>
                    <a:cubicBezTo>
                      <a:pt x="31538" y="251169"/>
                      <a:pt x="42255" y="250912"/>
                      <a:pt x="52662" y="248740"/>
                    </a:cubicBezTo>
                    <a:cubicBezTo>
                      <a:pt x="52662" y="248740"/>
                      <a:pt x="37993" y="248264"/>
                      <a:pt x="29325" y="247216"/>
                    </a:cubicBezTo>
                    <a:cubicBezTo>
                      <a:pt x="21541" y="246368"/>
                      <a:pt x="13911" y="244444"/>
                      <a:pt x="6656" y="241501"/>
                    </a:cubicBezTo>
                    <a:cubicBezTo>
                      <a:pt x="-297" y="238548"/>
                      <a:pt x="-2869" y="227594"/>
                      <a:pt x="4179" y="227975"/>
                    </a:cubicBezTo>
                    <a:cubicBezTo>
                      <a:pt x="11228" y="228356"/>
                      <a:pt x="15990" y="230452"/>
                      <a:pt x="28944" y="231785"/>
                    </a:cubicBezTo>
                    <a:cubicBezTo>
                      <a:pt x="35778" y="232614"/>
                      <a:pt x="42685" y="232614"/>
                      <a:pt x="49518" y="231785"/>
                    </a:cubicBezTo>
                    <a:cubicBezTo>
                      <a:pt x="40949" y="230376"/>
                      <a:pt x="32508" y="228271"/>
                      <a:pt x="24277" y="225499"/>
                    </a:cubicBezTo>
                    <a:cubicBezTo>
                      <a:pt x="17463" y="223689"/>
                      <a:pt x="11333" y="219917"/>
                      <a:pt x="6656" y="214640"/>
                    </a:cubicBezTo>
                    <a:cubicBezTo>
                      <a:pt x="4275" y="211878"/>
                      <a:pt x="4941" y="205115"/>
                      <a:pt x="13228" y="206830"/>
                    </a:cubicBezTo>
                    <a:cubicBezTo>
                      <a:pt x="23208" y="210307"/>
                      <a:pt x="33569" y="212583"/>
                      <a:pt x="44089" y="213592"/>
                    </a:cubicBezTo>
                    <a:cubicBezTo>
                      <a:pt x="54662" y="213592"/>
                      <a:pt x="62187" y="212735"/>
                      <a:pt x="60853" y="211116"/>
                    </a:cubicBezTo>
                    <a:cubicBezTo>
                      <a:pt x="59520" y="209497"/>
                      <a:pt x="53233" y="209687"/>
                      <a:pt x="45232" y="205211"/>
                    </a:cubicBezTo>
                    <a:cubicBezTo>
                      <a:pt x="37231" y="200734"/>
                      <a:pt x="32469" y="192066"/>
                      <a:pt x="35707" y="187875"/>
                    </a:cubicBezTo>
                    <a:cubicBezTo>
                      <a:pt x="38946" y="183684"/>
                      <a:pt x="38946" y="186827"/>
                      <a:pt x="47613" y="190066"/>
                    </a:cubicBezTo>
                    <a:close/>
                  </a:path>
                </a:pathLst>
              </a:custGeom>
              <a:solidFill>
                <a:srgbClr val="FFCEA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4" name="Google Shape;234;p12"/>
              <p:cNvSpPr/>
              <p:nvPr/>
            </p:nvSpPr>
            <p:spPr>
              <a:xfrm>
                <a:off x="6075027" y="3988967"/>
                <a:ext cx="80628" cy="83804"/>
              </a:xfrm>
              <a:custGeom>
                <a:avLst/>
                <a:gdLst/>
                <a:ahLst/>
                <a:cxnLst/>
                <a:rect l="l" t="t" r="r" b="b"/>
                <a:pathLst>
                  <a:path w="100785" h="104755" extrusionOk="0">
                    <a:moveTo>
                      <a:pt x="65151" y="104756"/>
                    </a:moveTo>
                    <a:cubicBezTo>
                      <a:pt x="40403" y="101165"/>
                      <a:pt x="17516" y="89554"/>
                      <a:pt x="0" y="71704"/>
                    </a:cubicBezTo>
                    <a:lnTo>
                      <a:pt x="39433" y="17030"/>
                    </a:lnTo>
                    <a:cubicBezTo>
                      <a:pt x="39433" y="17030"/>
                      <a:pt x="61627" y="-10973"/>
                      <a:pt x="90964" y="4838"/>
                    </a:cubicBezTo>
                    <a:cubicBezTo>
                      <a:pt x="90964" y="4838"/>
                      <a:pt x="113062" y="7220"/>
                      <a:pt x="90964" y="53511"/>
                    </a:cubicBezTo>
                    <a:cubicBezTo>
                      <a:pt x="83445" y="71113"/>
                      <a:pt x="74824" y="88230"/>
                      <a:pt x="65151" y="104756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5" name="Google Shape;235;p12"/>
              <p:cNvSpPr/>
              <p:nvPr/>
            </p:nvSpPr>
            <p:spPr>
              <a:xfrm>
                <a:off x="6107459" y="3797280"/>
                <a:ext cx="160810" cy="262954"/>
              </a:xfrm>
              <a:custGeom>
                <a:avLst/>
                <a:gdLst/>
                <a:ahLst/>
                <a:cxnLst/>
                <a:rect l="l" t="t" r="r" b="b"/>
                <a:pathLst>
                  <a:path w="201012" h="328692" extrusionOk="0">
                    <a:moveTo>
                      <a:pt x="3726" y="41904"/>
                    </a:moveTo>
                    <a:cubicBezTo>
                      <a:pt x="6992" y="22359"/>
                      <a:pt x="25260" y="8995"/>
                      <a:pt x="44874" y="11805"/>
                    </a:cubicBezTo>
                    <a:cubicBezTo>
                      <a:pt x="58646" y="2566"/>
                      <a:pt x="75264" y="-1454"/>
                      <a:pt x="91737" y="470"/>
                    </a:cubicBezTo>
                    <a:cubicBezTo>
                      <a:pt x="129170" y="4376"/>
                      <a:pt x="153649" y="29045"/>
                      <a:pt x="164984" y="66193"/>
                    </a:cubicBezTo>
                    <a:cubicBezTo>
                      <a:pt x="170544" y="84833"/>
                      <a:pt x="174245" y="103978"/>
                      <a:pt x="176033" y="123343"/>
                    </a:cubicBezTo>
                    <a:cubicBezTo>
                      <a:pt x="187272" y="206686"/>
                      <a:pt x="217562" y="272790"/>
                      <a:pt x="189273" y="297555"/>
                    </a:cubicBezTo>
                    <a:cubicBezTo>
                      <a:pt x="160983" y="322320"/>
                      <a:pt x="83450" y="338036"/>
                      <a:pt x="51065" y="322510"/>
                    </a:cubicBezTo>
                    <a:cubicBezTo>
                      <a:pt x="18680" y="306985"/>
                      <a:pt x="77735" y="163348"/>
                      <a:pt x="13632" y="83528"/>
                    </a:cubicBezTo>
                    <a:cubicBezTo>
                      <a:pt x="-1418" y="64574"/>
                      <a:pt x="-2847" y="51334"/>
                      <a:pt x="3726" y="41904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6" name="Google Shape;236;p12"/>
              <p:cNvSpPr/>
              <p:nvPr/>
            </p:nvSpPr>
            <p:spPr>
              <a:xfrm>
                <a:off x="5490177" y="4381136"/>
                <a:ext cx="345795" cy="199644"/>
              </a:xfrm>
              <a:custGeom>
                <a:avLst/>
                <a:gdLst/>
                <a:ahLst/>
                <a:cxnLst/>
                <a:rect l="l" t="t" r="r" b="b"/>
                <a:pathLst>
                  <a:path w="432244" h="249555" extrusionOk="0">
                    <a:moveTo>
                      <a:pt x="432245" y="124778"/>
                    </a:moveTo>
                    <a:cubicBezTo>
                      <a:pt x="432245" y="193690"/>
                      <a:pt x="335483" y="249555"/>
                      <a:pt x="216122" y="249555"/>
                    </a:cubicBezTo>
                    <a:cubicBezTo>
                      <a:pt x="96761" y="249555"/>
                      <a:pt x="0" y="193690"/>
                      <a:pt x="0" y="124778"/>
                    </a:cubicBezTo>
                    <a:cubicBezTo>
                      <a:pt x="0" y="55865"/>
                      <a:pt x="96761" y="0"/>
                      <a:pt x="216122" y="0"/>
                    </a:cubicBezTo>
                    <a:cubicBezTo>
                      <a:pt x="335483" y="0"/>
                      <a:pt x="432245" y="55865"/>
                      <a:pt x="432245" y="124778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7" name="Google Shape;237;p12"/>
              <p:cNvSpPr/>
              <p:nvPr/>
            </p:nvSpPr>
            <p:spPr>
              <a:xfrm>
                <a:off x="5573749" y="4455840"/>
                <a:ext cx="98301" cy="76095"/>
              </a:xfrm>
              <a:custGeom>
                <a:avLst/>
                <a:gdLst/>
                <a:ahLst/>
                <a:cxnLst/>
                <a:rect l="l" t="t" r="r" b="b"/>
                <a:pathLst>
                  <a:path w="122876" h="95119" extrusionOk="0">
                    <a:moveTo>
                      <a:pt x="9769" y="2"/>
                    </a:moveTo>
                    <a:cubicBezTo>
                      <a:pt x="24533" y="12004"/>
                      <a:pt x="46250" y="1050"/>
                      <a:pt x="47297" y="2193"/>
                    </a:cubicBezTo>
                    <a:cubicBezTo>
                      <a:pt x="64639" y="18195"/>
                      <a:pt x="82792" y="33302"/>
                      <a:pt x="101685" y="47437"/>
                    </a:cubicBezTo>
                    <a:cubicBezTo>
                      <a:pt x="111210" y="54676"/>
                      <a:pt x="125212" y="64296"/>
                      <a:pt x="122545" y="78202"/>
                    </a:cubicBezTo>
                    <a:cubicBezTo>
                      <a:pt x="117973" y="102967"/>
                      <a:pt x="78254" y="95347"/>
                      <a:pt x="63204" y="87727"/>
                    </a:cubicBezTo>
                    <a:cubicBezTo>
                      <a:pt x="48155" y="80107"/>
                      <a:pt x="35963" y="67630"/>
                      <a:pt x="21770" y="59152"/>
                    </a:cubicBezTo>
                    <a:cubicBezTo>
                      <a:pt x="11674" y="52866"/>
                      <a:pt x="1768" y="49627"/>
                      <a:pt x="149" y="36864"/>
                    </a:cubicBezTo>
                    <a:cubicBezTo>
                      <a:pt x="-1185" y="28768"/>
                      <a:pt x="6816" y="-284"/>
                      <a:pt x="9769" y="2"/>
                    </a:cubicBezTo>
                    <a:close/>
                  </a:path>
                </a:pathLst>
              </a:custGeom>
              <a:solidFill>
                <a:srgbClr val="2B2A30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8" name="Google Shape;238;p12"/>
              <p:cNvSpPr/>
              <p:nvPr/>
            </p:nvSpPr>
            <p:spPr>
              <a:xfrm>
                <a:off x="5573762" y="4480895"/>
                <a:ext cx="97794" cy="51001"/>
              </a:xfrm>
              <a:custGeom>
                <a:avLst/>
                <a:gdLst/>
                <a:ahLst/>
                <a:cxnLst/>
                <a:rect l="l" t="t" r="r" b="b"/>
                <a:pathLst>
                  <a:path w="122242" h="63751" extrusionOk="0">
                    <a:moveTo>
                      <a:pt x="227" y="0"/>
                    </a:moveTo>
                    <a:cubicBezTo>
                      <a:pt x="2228" y="12192"/>
                      <a:pt x="12038" y="15621"/>
                      <a:pt x="22040" y="21812"/>
                    </a:cubicBezTo>
                    <a:cubicBezTo>
                      <a:pt x="36518" y="30766"/>
                      <a:pt x="49186" y="43720"/>
                      <a:pt x="64140" y="51245"/>
                    </a:cubicBezTo>
                    <a:cubicBezTo>
                      <a:pt x="79094" y="58769"/>
                      <a:pt x="112527" y="65246"/>
                      <a:pt x="122243" y="47530"/>
                    </a:cubicBezTo>
                    <a:cubicBezTo>
                      <a:pt x="117004" y="71438"/>
                      <a:pt x="77951" y="63913"/>
                      <a:pt x="63092" y="56388"/>
                    </a:cubicBezTo>
                    <a:cubicBezTo>
                      <a:pt x="48233" y="48863"/>
                      <a:pt x="35851" y="36290"/>
                      <a:pt x="21659" y="27813"/>
                    </a:cubicBezTo>
                    <a:cubicBezTo>
                      <a:pt x="11562" y="21527"/>
                      <a:pt x="1656" y="18288"/>
                      <a:pt x="37" y="5524"/>
                    </a:cubicBezTo>
                    <a:cubicBezTo>
                      <a:pt x="-49" y="3677"/>
                      <a:pt x="15" y="1829"/>
                      <a:pt x="227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9" name="Google Shape;239;p12"/>
              <p:cNvSpPr/>
              <p:nvPr/>
            </p:nvSpPr>
            <p:spPr>
              <a:xfrm>
                <a:off x="5674337" y="4417793"/>
                <a:ext cx="98217" cy="73323"/>
              </a:xfrm>
              <a:custGeom>
                <a:avLst/>
                <a:gdLst/>
                <a:ahLst/>
                <a:cxnLst/>
                <a:rect l="l" t="t" r="r" b="b"/>
                <a:pathLst>
                  <a:path w="122771" h="91654" extrusionOk="0">
                    <a:moveTo>
                      <a:pt x="11400" y="61"/>
                    </a:moveTo>
                    <a:cubicBezTo>
                      <a:pt x="26164" y="12062"/>
                      <a:pt x="51881" y="-987"/>
                      <a:pt x="53024" y="61"/>
                    </a:cubicBezTo>
                    <a:cubicBezTo>
                      <a:pt x="68334" y="15615"/>
                      <a:pt x="84521" y="30274"/>
                      <a:pt x="101507" y="43971"/>
                    </a:cubicBezTo>
                    <a:cubicBezTo>
                      <a:pt x="111032" y="51114"/>
                      <a:pt x="125033" y="60830"/>
                      <a:pt x="122462" y="74737"/>
                    </a:cubicBezTo>
                    <a:cubicBezTo>
                      <a:pt x="117794" y="99502"/>
                      <a:pt x="78075" y="91881"/>
                      <a:pt x="63121" y="84262"/>
                    </a:cubicBezTo>
                    <a:cubicBezTo>
                      <a:pt x="48167" y="76642"/>
                      <a:pt x="35879" y="64069"/>
                      <a:pt x="21687" y="55687"/>
                    </a:cubicBezTo>
                    <a:cubicBezTo>
                      <a:pt x="11591" y="49400"/>
                      <a:pt x="1589" y="46162"/>
                      <a:pt x="65" y="33398"/>
                    </a:cubicBezTo>
                    <a:cubicBezTo>
                      <a:pt x="-887" y="25302"/>
                      <a:pt x="8828" y="-225"/>
                      <a:pt x="11400" y="61"/>
                    </a:cubicBezTo>
                    <a:close/>
                  </a:path>
                </a:pathLst>
              </a:custGeom>
              <a:solidFill>
                <a:srgbClr val="2B2A30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0" name="Google Shape;240;p12"/>
              <p:cNvSpPr/>
              <p:nvPr/>
            </p:nvSpPr>
            <p:spPr>
              <a:xfrm>
                <a:off x="5674522" y="4441449"/>
                <a:ext cx="97784" cy="51040"/>
              </a:xfrm>
              <a:custGeom>
                <a:avLst/>
                <a:gdLst/>
                <a:ahLst/>
                <a:cxnLst/>
                <a:rect l="l" t="t" r="r" b="b"/>
                <a:pathLst>
                  <a:path w="122230" h="63800" extrusionOk="0">
                    <a:moveTo>
                      <a:pt x="216" y="0"/>
                    </a:moveTo>
                    <a:cubicBezTo>
                      <a:pt x="2216" y="12192"/>
                      <a:pt x="12027" y="15621"/>
                      <a:pt x="22028" y="21812"/>
                    </a:cubicBezTo>
                    <a:cubicBezTo>
                      <a:pt x="36506" y="30766"/>
                      <a:pt x="49174" y="43720"/>
                      <a:pt x="64128" y="51340"/>
                    </a:cubicBezTo>
                    <a:cubicBezTo>
                      <a:pt x="79083" y="58960"/>
                      <a:pt x="112515" y="65246"/>
                      <a:pt x="122231" y="47530"/>
                    </a:cubicBezTo>
                    <a:cubicBezTo>
                      <a:pt x="116992" y="71438"/>
                      <a:pt x="77940" y="64008"/>
                      <a:pt x="63081" y="56483"/>
                    </a:cubicBezTo>
                    <a:cubicBezTo>
                      <a:pt x="48222" y="48958"/>
                      <a:pt x="35934" y="36290"/>
                      <a:pt x="21742" y="27432"/>
                    </a:cubicBezTo>
                    <a:cubicBezTo>
                      <a:pt x="11550" y="21146"/>
                      <a:pt x="1644" y="17907"/>
                      <a:pt x="25" y="5143"/>
                    </a:cubicBezTo>
                    <a:cubicBezTo>
                      <a:pt x="-41" y="3429"/>
                      <a:pt x="23" y="1705"/>
                      <a:pt x="216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1" name="Google Shape;241;p12"/>
              <p:cNvSpPr/>
              <p:nvPr/>
            </p:nvSpPr>
            <p:spPr>
              <a:xfrm>
                <a:off x="5578538" y="3979203"/>
                <a:ext cx="169290" cy="484803"/>
              </a:xfrm>
              <a:custGeom>
                <a:avLst/>
                <a:gdLst/>
                <a:ahLst/>
                <a:cxnLst/>
                <a:rect l="l" t="t" r="r" b="b"/>
                <a:pathLst>
                  <a:path w="211613" h="606004" extrusionOk="0">
                    <a:moveTo>
                      <a:pt x="2540" y="52483"/>
                    </a:moveTo>
                    <a:cubicBezTo>
                      <a:pt x="3302" y="74771"/>
                      <a:pt x="10160" y="171545"/>
                      <a:pt x="13303" y="222695"/>
                    </a:cubicBezTo>
                    <a:cubicBezTo>
                      <a:pt x="16446" y="273844"/>
                      <a:pt x="17113" y="336995"/>
                      <a:pt x="17113" y="336995"/>
                    </a:cubicBezTo>
                    <a:cubicBezTo>
                      <a:pt x="17113" y="336995"/>
                      <a:pt x="8255" y="374237"/>
                      <a:pt x="2540" y="418147"/>
                    </a:cubicBezTo>
                    <a:cubicBezTo>
                      <a:pt x="-3175" y="462058"/>
                      <a:pt x="2540" y="600361"/>
                      <a:pt x="2540" y="600361"/>
                    </a:cubicBezTo>
                    <a:cubicBezTo>
                      <a:pt x="14124" y="607886"/>
                      <a:pt x="29056" y="607886"/>
                      <a:pt x="40640" y="600361"/>
                    </a:cubicBezTo>
                    <a:cubicBezTo>
                      <a:pt x="40640" y="600361"/>
                      <a:pt x="64262" y="489585"/>
                      <a:pt x="75121" y="439674"/>
                    </a:cubicBezTo>
                    <a:cubicBezTo>
                      <a:pt x="85979" y="389763"/>
                      <a:pt x="87979" y="360997"/>
                      <a:pt x="93599" y="330137"/>
                    </a:cubicBezTo>
                    <a:cubicBezTo>
                      <a:pt x="100457" y="292703"/>
                      <a:pt x="115221" y="118110"/>
                      <a:pt x="115221" y="118110"/>
                    </a:cubicBezTo>
                    <a:lnTo>
                      <a:pt x="121126" y="118110"/>
                    </a:lnTo>
                    <a:lnTo>
                      <a:pt x="136938" y="315182"/>
                    </a:lnTo>
                    <a:cubicBezTo>
                      <a:pt x="132057" y="329717"/>
                      <a:pt x="128705" y="344719"/>
                      <a:pt x="126937" y="359950"/>
                    </a:cubicBezTo>
                    <a:cubicBezTo>
                      <a:pt x="122650" y="392049"/>
                      <a:pt x="131509" y="553593"/>
                      <a:pt x="131509" y="553593"/>
                    </a:cubicBezTo>
                    <a:cubicBezTo>
                      <a:pt x="144340" y="560727"/>
                      <a:pt x="160089" y="560070"/>
                      <a:pt x="172276" y="551879"/>
                    </a:cubicBezTo>
                    <a:cubicBezTo>
                      <a:pt x="172276" y="551879"/>
                      <a:pt x="211614" y="337947"/>
                      <a:pt x="211614" y="305467"/>
                    </a:cubicBezTo>
                    <a:cubicBezTo>
                      <a:pt x="211614" y="283845"/>
                      <a:pt x="207994" y="0"/>
                      <a:pt x="207994" y="0"/>
                    </a:cubicBezTo>
                    <a:close/>
                  </a:path>
                </a:pathLst>
              </a:custGeom>
              <a:solidFill>
                <a:srgbClr val="E2616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2" name="Google Shape;242;p12"/>
              <p:cNvSpPr/>
              <p:nvPr/>
            </p:nvSpPr>
            <p:spPr>
              <a:xfrm>
                <a:off x="5601056" y="3677030"/>
                <a:ext cx="108255" cy="105706"/>
              </a:xfrm>
              <a:custGeom>
                <a:avLst/>
                <a:gdLst/>
                <a:ahLst/>
                <a:cxnLst/>
                <a:rect l="l" t="t" r="r" b="b"/>
                <a:pathLst>
                  <a:path w="135319" h="132132" extrusionOk="0">
                    <a:moveTo>
                      <a:pt x="27811" y="0"/>
                    </a:moveTo>
                    <a:cubicBezTo>
                      <a:pt x="27811" y="0"/>
                      <a:pt x="30287" y="48578"/>
                      <a:pt x="29239" y="52864"/>
                    </a:cubicBezTo>
                    <a:cubicBezTo>
                      <a:pt x="28192" y="57150"/>
                      <a:pt x="6951" y="71342"/>
                      <a:pt x="664" y="76486"/>
                    </a:cubicBezTo>
                    <a:cubicBezTo>
                      <a:pt x="-5622" y="81629"/>
                      <a:pt x="34288" y="120491"/>
                      <a:pt x="53623" y="130016"/>
                    </a:cubicBezTo>
                    <a:cubicBezTo>
                      <a:pt x="72959" y="139541"/>
                      <a:pt x="134205" y="115538"/>
                      <a:pt x="135253" y="85439"/>
                    </a:cubicBezTo>
                    <a:cubicBezTo>
                      <a:pt x="136300" y="55340"/>
                      <a:pt x="124775" y="30099"/>
                      <a:pt x="115441" y="28765"/>
                    </a:cubicBezTo>
                    <a:cubicBezTo>
                      <a:pt x="106106" y="27432"/>
                      <a:pt x="27811" y="0"/>
                      <a:pt x="27811" y="0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3" name="Google Shape;243;p12"/>
              <p:cNvSpPr/>
              <p:nvPr/>
            </p:nvSpPr>
            <p:spPr>
              <a:xfrm>
                <a:off x="5726677" y="3702009"/>
                <a:ext cx="153814" cy="302133"/>
              </a:xfrm>
              <a:custGeom>
                <a:avLst/>
                <a:gdLst/>
                <a:ahLst/>
                <a:cxnLst/>
                <a:rect l="l" t="t" r="r" b="b"/>
                <a:pathLst>
                  <a:path w="192267" h="377666" extrusionOk="0">
                    <a:moveTo>
                      <a:pt x="3655" y="58864"/>
                    </a:moveTo>
                    <a:cubicBezTo>
                      <a:pt x="6513" y="37433"/>
                      <a:pt x="-7584" y="17050"/>
                      <a:pt x="6037" y="0"/>
                    </a:cubicBezTo>
                    <a:cubicBezTo>
                      <a:pt x="53662" y="47054"/>
                      <a:pt x="47947" y="171450"/>
                      <a:pt x="58805" y="250984"/>
                    </a:cubicBezTo>
                    <a:cubicBezTo>
                      <a:pt x="94429" y="288131"/>
                      <a:pt x="165961" y="324803"/>
                      <a:pt x="186059" y="333851"/>
                    </a:cubicBezTo>
                    <a:cubicBezTo>
                      <a:pt x="189679" y="335566"/>
                      <a:pt x="192917" y="337375"/>
                      <a:pt x="192155" y="341281"/>
                    </a:cubicBezTo>
                    <a:cubicBezTo>
                      <a:pt x="189461" y="354530"/>
                      <a:pt x="183757" y="366979"/>
                      <a:pt x="175486" y="377666"/>
                    </a:cubicBezTo>
                    <a:cubicBezTo>
                      <a:pt x="127861" y="357283"/>
                      <a:pt x="94048" y="345567"/>
                      <a:pt x="34897" y="289370"/>
                    </a:cubicBezTo>
                    <a:cubicBezTo>
                      <a:pt x="29295" y="283293"/>
                      <a:pt x="24287" y="276692"/>
                      <a:pt x="19943" y="269653"/>
                    </a:cubicBezTo>
                    <a:cubicBezTo>
                      <a:pt x="3084" y="218980"/>
                      <a:pt x="-1202" y="95821"/>
                      <a:pt x="3655" y="58864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4" name="Google Shape;244;p12"/>
              <p:cNvSpPr/>
              <p:nvPr/>
            </p:nvSpPr>
            <p:spPr>
              <a:xfrm>
                <a:off x="5572425" y="3691494"/>
                <a:ext cx="175494" cy="353954"/>
              </a:xfrm>
              <a:custGeom>
                <a:avLst/>
                <a:gdLst/>
                <a:ahLst/>
                <a:cxnLst/>
                <a:rect l="l" t="t" r="r" b="b"/>
                <a:pathLst>
                  <a:path w="219367" h="442443" extrusionOk="0">
                    <a:moveTo>
                      <a:pt x="58192" y="43155"/>
                    </a:moveTo>
                    <a:cubicBezTo>
                      <a:pt x="58192" y="43155"/>
                      <a:pt x="93434" y="95638"/>
                      <a:pt x="142583" y="100305"/>
                    </a:cubicBezTo>
                    <a:cubicBezTo>
                      <a:pt x="158109" y="85065"/>
                      <a:pt x="159443" y="30678"/>
                      <a:pt x="138011" y="13247"/>
                    </a:cubicBezTo>
                    <a:cubicBezTo>
                      <a:pt x="138011" y="13247"/>
                      <a:pt x="157728" y="-2660"/>
                      <a:pt x="171254" y="388"/>
                    </a:cubicBezTo>
                    <a:cubicBezTo>
                      <a:pt x="185905" y="9218"/>
                      <a:pt x="196816" y="23115"/>
                      <a:pt x="201924" y="39441"/>
                    </a:cubicBezTo>
                    <a:cubicBezTo>
                      <a:pt x="214382" y="75569"/>
                      <a:pt x="220254" y="113631"/>
                      <a:pt x="219260" y="151836"/>
                    </a:cubicBezTo>
                    <a:cubicBezTo>
                      <a:pt x="218402" y="203366"/>
                      <a:pt x="219260" y="360814"/>
                      <a:pt x="219260" y="360814"/>
                    </a:cubicBezTo>
                    <a:cubicBezTo>
                      <a:pt x="219260" y="360814"/>
                      <a:pt x="212402" y="394056"/>
                      <a:pt x="167920" y="418821"/>
                    </a:cubicBezTo>
                    <a:cubicBezTo>
                      <a:pt x="123438" y="443586"/>
                      <a:pt x="90386" y="446063"/>
                      <a:pt x="60192" y="439014"/>
                    </a:cubicBezTo>
                    <a:cubicBezTo>
                      <a:pt x="35332" y="433204"/>
                      <a:pt x="14758" y="424441"/>
                      <a:pt x="6185" y="406439"/>
                    </a:cubicBezTo>
                    <a:cubicBezTo>
                      <a:pt x="8471" y="370244"/>
                      <a:pt x="24569" y="276042"/>
                      <a:pt x="18568" y="230607"/>
                    </a:cubicBezTo>
                    <a:cubicBezTo>
                      <a:pt x="12567" y="185173"/>
                      <a:pt x="2947" y="151359"/>
                      <a:pt x="470" y="114593"/>
                    </a:cubicBezTo>
                    <a:cubicBezTo>
                      <a:pt x="-2006" y="77826"/>
                      <a:pt x="5233" y="78588"/>
                      <a:pt x="23711" y="65539"/>
                    </a:cubicBezTo>
                    <a:cubicBezTo>
                      <a:pt x="34645" y="57252"/>
                      <a:pt x="46169" y="49766"/>
                      <a:pt x="58192" y="43155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5" name="Google Shape;245;p12"/>
              <p:cNvSpPr/>
              <p:nvPr/>
            </p:nvSpPr>
            <p:spPr>
              <a:xfrm>
                <a:off x="5596900" y="3567776"/>
                <a:ext cx="116875" cy="142090"/>
              </a:xfrm>
              <a:custGeom>
                <a:avLst/>
                <a:gdLst/>
                <a:ahLst/>
                <a:cxnLst/>
                <a:rect l="l" t="t" r="r" b="b"/>
                <a:pathLst>
                  <a:path w="146094" h="177613" extrusionOk="0">
                    <a:moveTo>
                      <a:pt x="142737" y="64264"/>
                    </a:moveTo>
                    <a:lnTo>
                      <a:pt x="142737" y="64264"/>
                    </a:lnTo>
                    <a:cubicBezTo>
                      <a:pt x="136926" y="26164"/>
                      <a:pt x="109780" y="-2411"/>
                      <a:pt x="70823" y="161"/>
                    </a:cubicBezTo>
                    <a:cubicBezTo>
                      <a:pt x="29585" y="2342"/>
                      <a:pt x="-2076" y="37537"/>
                      <a:pt x="106" y="78780"/>
                    </a:cubicBezTo>
                    <a:cubicBezTo>
                      <a:pt x="1341" y="102107"/>
                      <a:pt x="13407" y="123519"/>
                      <a:pt x="32723" y="136654"/>
                    </a:cubicBezTo>
                    <a:cubicBezTo>
                      <a:pt x="34067" y="142360"/>
                      <a:pt x="36081" y="147894"/>
                      <a:pt x="38724" y="153132"/>
                    </a:cubicBezTo>
                    <a:cubicBezTo>
                      <a:pt x="52440" y="169230"/>
                      <a:pt x="94064" y="179136"/>
                      <a:pt x="105970" y="177421"/>
                    </a:cubicBezTo>
                    <a:cubicBezTo>
                      <a:pt x="120536" y="176269"/>
                      <a:pt x="132921" y="166334"/>
                      <a:pt x="137212" y="152370"/>
                    </a:cubicBezTo>
                    <a:cubicBezTo>
                      <a:pt x="150166" y="122462"/>
                      <a:pt x="146070" y="82838"/>
                      <a:pt x="142737" y="64264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6" name="Google Shape;246;p12"/>
              <p:cNvSpPr/>
              <p:nvPr/>
            </p:nvSpPr>
            <p:spPr>
              <a:xfrm>
                <a:off x="5586117" y="3555452"/>
                <a:ext cx="123225" cy="121654"/>
              </a:xfrm>
              <a:custGeom>
                <a:avLst/>
                <a:gdLst/>
                <a:ahLst/>
                <a:cxnLst/>
                <a:rect l="l" t="t" r="r" b="b"/>
                <a:pathLst>
                  <a:path w="154031" h="152067" extrusionOk="0">
                    <a:moveTo>
                      <a:pt x="46496" y="152068"/>
                    </a:moveTo>
                    <a:lnTo>
                      <a:pt x="46496" y="152068"/>
                    </a:lnTo>
                    <a:lnTo>
                      <a:pt x="50021" y="119112"/>
                    </a:lnTo>
                    <a:cubicBezTo>
                      <a:pt x="50021" y="119112"/>
                      <a:pt x="22874" y="49579"/>
                      <a:pt x="86692" y="63009"/>
                    </a:cubicBezTo>
                    <a:cubicBezTo>
                      <a:pt x="128602" y="71867"/>
                      <a:pt x="139079" y="75677"/>
                      <a:pt x="151843" y="47579"/>
                    </a:cubicBezTo>
                    <a:cubicBezTo>
                      <a:pt x="164606" y="19480"/>
                      <a:pt x="119648" y="-5857"/>
                      <a:pt x="66118" y="1192"/>
                    </a:cubicBezTo>
                    <a:cubicBezTo>
                      <a:pt x="27984" y="5192"/>
                      <a:pt x="-739" y="37720"/>
                      <a:pt x="14" y="76058"/>
                    </a:cubicBezTo>
                    <a:cubicBezTo>
                      <a:pt x="1538" y="96632"/>
                      <a:pt x="7063" y="138542"/>
                      <a:pt x="46496" y="152068"/>
                    </a:cubicBezTo>
                    <a:close/>
                  </a:path>
                </a:pathLst>
              </a:custGeom>
              <a:solidFill>
                <a:srgbClr val="2B2A30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7" name="Google Shape;247;p12"/>
              <p:cNvSpPr/>
              <p:nvPr/>
            </p:nvSpPr>
            <p:spPr>
              <a:xfrm>
                <a:off x="5563193" y="3761560"/>
                <a:ext cx="157578" cy="270890"/>
              </a:xfrm>
              <a:custGeom>
                <a:avLst/>
                <a:gdLst/>
                <a:ahLst/>
                <a:cxnLst/>
                <a:rect l="l" t="t" r="r" b="b"/>
                <a:pathLst>
                  <a:path w="196972" h="338613" extrusionOk="0">
                    <a:moveTo>
                      <a:pt x="780" y="5239"/>
                    </a:moveTo>
                    <a:cubicBezTo>
                      <a:pt x="19163" y="0"/>
                      <a:pt x="5161" y="4286"/>
                      <a:pt x="19163" y="0"/>
                    </a:cubicBezTo>
                    <a:cubicBezTo>
                      <a:pt x="66788" y="46958"/>
                      <a:pt x="61168" y="127540"/>
                      <a:pt x="72027" y="207073"/>
                    </a:cubicBezTo>
                    <a:cubicBezTo>
                      <a:pt x="98506" y="250984"/>
                      <a:pt x="196709" y="310039"/>
                      <a:pt x="196709" y="310039"/>
                    </a:cubicBezTo>
                    <a:cubicBezTo>
                      <a:pt x="197947" y="318516"/>
                      <a:pt x="194994" y="320992"/>
                      <a:pt x="184326" y="338614"/>
                    </a:cubicBezTo>
                    <a:cubicBezTo>
                      <a:pt x="129661" y="317649"/>
                      <a:pt x="79941" y="285579"/>
                      <a:pt x="38308" y="244411"/>
                    </a:cubicBezTo>
                    <a:cubicBezTo>
                      <a:pt x="35927" y="242221"/>
                      <a:pt x="32498" y="241554"/>
                      <a:pt x="31545" y="238601"/>
                    </a:cubicBezTo>
                    <a:cubicBezTo>
                      <a:pt x="14686" y="187547"/>
                      <a:pt x="-4078" y="42291"/>
                      <a:pt x="780" y="5239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8" name="Google Shape;248;p12"/>
              <p:cNvSpPr/>
              <p:nvPr/>
            </p:nvSpPr>
            <p:spPr>
              <a:xfrm>
                <a:off x="5730894" y="3844261"/>
                <a:ext cx="182422" cy="245287"/>
              </a:xfrm>
              <a:custGeom>
                <a:avLst/>
                <a:gdLst/>
                <a:ahLst/>
                <a:cxnLst/>
                <a:rect l="l" t="t" r="r" b="b"/>
                <a:pathLst>
                  <a:path w="228028" h="306609" extrusionOk="0">
                    <a:moveTo>
                      <a:pt x="228028" y="0"/>
                    </a:moveTo>
                    <a:lnTo>
                      <a:pt x="156686" y="244030"/>
                    </a:lnTo>
                    <a:lnTo>
                      <a:pt x="0" y="306610"/>
                    </a:lnTo>
                    <a:lnTo>
                      <a:pt x="57150" y="68866"/>
                    </a:lnTo>
                    <a:lnTo>
                      <a:pt x="228028" y="0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9" name="Google Shape;249;p12"/>
              <p:cNvSpPr/>
              <p:nvPr/>
            </p:nvSpPr>
            <p:spPr>
              <a:xfrm>
                <a:off x="5699455" y="3997937"/>
                <a:ext cx="92794" cy="45581"/>
              </a:xfrm>
              <a:custGeom>
                <a:avLst/>
                <a:gdLst/>
                <a:ahLst/>
                <a:cxnLst/>
                <a:rect l="l" t="t" r="r" b="b"/>
                <a:pathLst>
                  <a:path w="115992" h="56976" extrusionOk="0">
                    <a:moveTo>
                      <a:pt x="1604" y="16383"/>
                    </a:moveTo>
                    <a:cubicBezTo>
                      <a:pt x="3890" y="8001"/>
                      <a:pt x="9891" y="10096"/>
                      <a:pt x="16749" y="12192"/>
                    </a:cubicBezTo>
                    <a:cubicBezTo>
                      <a:pt x="24087" y="15173"/>
                      <a:pt x="32154" y="15869"/>
                      <a:pt x="39895" y="14192"/>
                    </a:cubicBezTo>
                    <a:cubicBezTo>
                      <a:pt x="45919" y="11240"/>
                      <a:pt x="51497" y="7458"/>
                      <a:pt x="56468" y="2953"/>
                    </a:cubicBezTo>
                    <a:cubicBezTo>
                      <a:pt x="59631" y="1038"/>
                      <a:pt x="63251" y="19"/>
                      <a:pt x="66946" y="0"/>
                    </a:cubicBezTo>
                    <a:cubicBezTo>
                      <a:pt x="66946" y="2096"/>
                      <a:pt x="63326" y="14478"/>
                      <a:pt x="63326" y="14478"/>
                    </a:cubicBezTo>
                    <a:cubicBezTo>
                      <a:pt x="63326" y="14478"/>
                      <a:pt x="97712" y="14478"/>
                      <a:pt x="101426" y="14478"/>
                    </a:cubicBezTo>
                    <a:cubicBezTo>
                      <a:pt x="104583" y="13907"/>
                      <a:pt x="107609" y="15993"/>
                      <a:pt x="108184" y="19155"/>
                    </a:cubicBezTo>
                    <a:cubicBezTo>
                      <a:pt x="108501" y="20889"/>
                      <a:pt x="108012" y="22670"/>
                      <a:pt x="106856" y="24003"/>
                    </a:cubicBezTo>
                    <a:lnTo>
                      <a:pt x="109237" y="24003"/>
                    </a:lnTo>
                    <a:cubicBezTo>
                      <a:pt x="116190" y="22479"/>
                      <a:pt x="118762" y="33528"/>
                      <a:pt x="112190" y="34862"/>
                    </a:cubicBezTo>
                    <a:lnTo>
                      <a:pt x="106475" y="35719"/>
                    </a:lnTo>
                    <a:cubicBezTo>
                      <a:pt x="111047" y="37529"/>
                      <a:pt x="112190" y="45244"/>
                      <a:pt x="106475" y="46196"/>
                    </a:cubicBezTo>
                    <a:lnTo>
                      <a:pt x="104665" y="46196"/>
                    </a:lnTo>
                    <a:cubicBezTo>
                      <a:pt x="103845" y="46339"/>
                      <a:pt x="103009" y="46339"/>
                      <a:pt x="102188" y="46196"/>
                    </a:cubicBezTo>
                    <a:lnTo>
                      <a:pt x="100188" y="46196"/>
                    </a:lnTo>
                    <a:cubicBezTo>
                      <a:pt x="100896" y="49435"/>
                      <a:pt x="98845" y="52635"/>
                      <a:pt x="95608" y="53340"/>
                    </a:cubicBezTo>
                    <a:cubicBezTo>
                      <a:pt x="95421" y="53378"/>
                      <a:pt x="95233" y="53416"/>
                      <a:pt x="95045" y="53435"/>
                    </a:cubicBezTo>
                    <a:cubicBezTo>
                      <a:pt x="78281" y="55626"/>
                      <a:pt x="53611" y="62294"/>
                      <a:pt x="38466" y="48482"/>
                    </a:cubicBezTo>
                    <a:cubicBezTo>
                      <a:pt x="27950" y="47473"/>
                      <a:pt x="17678" y="44710"/>
                      <a:pt x="8081" y="40291"/>
                    </a:cubicBezTo>
                    <a:cubicBezTo>
                      <a:pt x="-967" y="35719"/>
                      <a:pt x="-1253" y="26289"/>
                      <a:pt x="1604" y="16383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0" name="Google Shape;250;p12"/>
              <p:cNvSpPr/>
              <p:nvPr/>
            </p:nvSpPr>
            <p:spPr>
              <a:xfrm>
                <a:off x="5833154" y="3969125"/>
                <a:ext cx="57182" cy="47279"/>
              </a:xfrm>
              <a:custGeom>
                <a:avLst/>
                <a:gdLst/>
                <a:ahLst/>
                <a:cxnLst/>
                <a:rect l="l" t="t" r="r" b="b"/>
                <a:pathLst>
                  <a:path w="71478" h="59099" extrusionOk="0">
                    <a:moveTo>
                      <a:pt x="5636" y="32418"/>
                    </a:moveTo>
                    <a:lnTo>
                      <a:pt x="8018" y="32418"/>
                    </a:lnTo>
                    <a:cubicBezTo>
                      <a:pt x="5440" y="30599"/>
                      <a:pt x="4827" y="27027"/>
                      <a:pt x="6648" y="24455"/>
                    </a:cubicBezTo>
                    <a:cubicBezTo>
                      <a:pt x="7726" y="22922"/>
                      <a:pt x="9482" y="22026"/>
                      <a:pt x="11351" y="22036"/>
                    </a:cubicBezTo>
                    <a:cubicBezTo>
                      <a:pt x="14876" y="22036"/>
                      <a:pt x="50213" y="14606"/>
                      <a:pt x="50213" y="14606"/>
                    </a:cubicBezTo>
                    <a:lnTo>
                      <a:pt x="54500" y="128"/>
                    </a:lnTo>
                    <a:cubicBezTo>
                      <a:pt x="54500" y="-729"/>
                      <a:pt x="60596" y="2986"/>
                      <a:pt x="60786" y="3176"/>
                    </a:cubicBezTo>
                    <a:cubicBezTo>
                      <a:pt x="66872" y="7091"/>
                      <a:pt x="70809" y="13597"/>
                      <a:pt x="71454" y="20798"/>
                    </a:cubicBezTo>
                    <a:cubicBezTo>
                      <a:pt x="71818" y="30903"/>
                      <a:pt x="68152" y="40733"/>
                      <a:pt x="61262" y="48134"/>
                    </a:cubicBezTo>
                    <a:cubicBezTo>
                      <a:pt x="54984" y="54364"/>
                      <a:pt x="46575" y="57974"/>
                      <a:pt x="37736" y="58231"/>
                    </a:cubicBezTo>
                    <a:cubicBezTo>
                      <a:pt x="33449" y="58231"/>
                      <a:pt x="29354" y="58707"/>
                      <a:pt x="25639" y="59088"/>
                    </a:cubicBezTo>
                    <a:cubicBezTo>
                      <a:pt x="22226" y="59298"/>
                      <a:pt x="19289" y="56707"/>
                      <a:pt x="19078" y="53287"/>
                    </a:cubicBezTo>
                    <a:cubicBezTo>
                      <a:pt x="19071" y="53192"/>
                      <a:pt x="19068" y="53087"/>
                      <a:pt x="19067" y="52992"/>
                    </a:cubicBezTo>
                    <a:lnTo>
                      <a:pt x="17924" y="52992"/>
                    </a:lnTo>
                    <a:cubicBezTo>
                      <a:pt x="17115" y="53221"/>
                      <a:pt x="16256" y="53221"/>
                      <a:pt x="15447" y="52992"/>
                    </a:cubicBezTo>
                    <a:lnTo>
                      <a:pt x="13637" y="52992"/>
                    </a:lnTo>
                    <a:cubicBezTo>
                      <a:pt x="7637" y="52992"/>
                      <a:pt x="7160" y="45562"/>
                      <a:pt x="11256" y="42895"/>
                    </a:cubicBezTo>
                    <a:lnTo>
                      <a:pt x="5446" y="42895"/>
                    </a:lnTo>
                    <a:cubicBezTo>
                      <a:pt x="-2174" y="43562"/>
                      <a:pt x="-1507" y="32323"/>
                      <a:pt x="5636" y="32418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1" name="Google Shape;251;p12"/>
              <p:cNvSpPr/>
              <p:nvPr/>
            </p:nvSpPr>
            <p:spPr>
              <a:xfrm>
                <a:off x="5709343" y="3692033"/>
                <a:ext cx="56693" cy="82524"/>
              </a:xfrm>
              <a:custGeom>
                <a:avLst/>
                <a:gdLst/>
                <a:ahLst/>
                <a:cxnLst/>
                <a:rect l="l" t="t" r="r" b="b"/>
                <a:pathLst>
                  <a:path w="70866" h="103155" extrusionOk="0">
                    <a:moveTo>
                      <a:pt x="45339" y="103156"/>
                    </a:moveTo>
                    <a:cubicBezTo>
                      <a:pt x="54990" y="102718"/>
                      <a:pt x="64114" y="98631"/>
                      <a:pt x="70866" y="91726"/>
                    </a:cubicBezTo>
                    <a:cubicBezTo>
                      <a:pt x="69533" y="73628"/>
                      <a:pt x="46482" y="5143"/>
                      <a:pt x="0" y="0"/>
                    </a:cubicBezTo>
                    <a:cubicBezTo>
                      <a:pt x="12463" y="8944"/>
                      <a:pt x="22324" y="21041"/>
                      <a:pt x="28575" y="35052"/>
                    </a:cubicBezTo>
                    <a:cubicBezTo>
                      <a:pt x="35880" y="57293"/>
                      <a:pt x="41484" y="80067"/>
                      <a:pt x="45339" y="103156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2" name="Google Shape;252;p12"/>
              <p:cNvSpPr/>
              <p:nvPr/>
            </p:nvSpPr>
            <p:spPr>
              <a:xfrm>
                <a:off x="5551668" y="3748041"/>
                <a:ext cx="68780" cy="102654"/>
              </a:xfrm>
              <a:custGeom>
                <a:avLst/>
                <a:gdLst/>
                <a:ahLst/>
                <a:cxnLst/>
                <a:rect l="l" t="t" r="r" b="b"/>
                <a:pathLst>
                  <a:path w="85975" h="128318" extrusionOk="0">
                    <a:moveTo>
                      <a:pt x="6812" y="123589"/>
                    </a:moveTo>
                    <a:cubicBezTo>
                      <a:pt x="6812" y="123589"/>
                      <a:pt x="53008" y="139590"/>
                      <a:pt x="85584" y="112730"/>
                    </a:cubicBezTo>
                    <a:cubicBezTo>
                      <a:pt x="89203" y="106634"/>
                      <a:pt x="66534" y="27957"/>
                      <a:pt x="66534" y="27957"/>
                    </a:cubicBezTo>
                    <a:cubicBezTo>
                      <a:pt x="66534" y="27957"/>
                      <a:pt x="47484" y="-12238"/>
                      <a:pt x="16813" y="3764"/>
                    </a:cubicBezTo>
                    <a:cubicBezTo>
                      <a:pt x="-13857" y="19766"/>
                      <a:pt x="6812" y="123589"/>
                      <a:pt x="6812" y="123589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253" name="Google Shape;253;p12"/>
            <p:cNvSpPr/>
            <p:nvPr/>
          </p:nvSpPr>
          <p:spPr>
            <a:xfrm>
              <a:off x="7297552" y="1119942"/>
              <a:ext cx="135609" cy="266405"/>
            </a:xfrm>
            <a:custGeom>
              <a:avLst/>
              <a:gdLst/>
              <a:ahLst/>
              <a:cxnLst/>
              <a:rect l="l" t="t" r="r" b="b"/>
              <a:pathLst>
                <a:path w="169617" h="333215" extrusionOk="0">
                  <a:moveTo>
                    <a:pt x="97114" y="257806"/>
                  </a:moveTo>
                  <a:cubicBezTo>
                    <a:pt x="82065" y="284512"/>
                    <a:pt x="63834" y="309299"/>
                    <a:pt x="42822" y="331624"/>
                  </a:cubicBezTo>
                  <a:cubicBezTo>
                    <a:pt x="36916" y="338482"/>
                    <a:pt x="-8137" y="321242"/>
                    <a:pt x="1293" y="316384"/>
                  </a:cubicBezTo>
                  <a:cubicBezTo>
                    <a:pt x="10722" y="311527"/>
                    <a:pt x="40250" y="270283"/>
                    <a:pt x="55109" y="242851"/>
                  </a:cubicBezTo>
                  <a:cubicBezTo>
                    <a:pt x="67549" y="210057"/>
                    <a:pt x="78074" y="176568"/>
                    <a:pt x="86637" y="142553"/>
                  </a:cubicBezTo>
                  <a:cubicBezTo>
                    <a:pt x="96162" y="108930"/>
                    <a:pt x="103972" y="59590"/>
                    <a:pt x="110735" y="36349"/>
                  </a:cubicBezTo>
                  <a:cubicBezTo>
                    <a:pt x="114326" y="18843"/>
                    <a:pt x="127870" y="5080"/>
                    <a:pt x="145311" y="1202"/>
                  </a:cubicBezTo>
                  <a:cubicBezTo>
                    <a:pt x="161503" y="-2513"/>
                    <a:pt x="172076" y="1869"/>
                    <a:pt x="169123" y="21586"/>
                  </a:cubicBezTo>
                  <a:cubicBezTo>
                    <a:pt x="163885" y="56066"/>
                    <a:pt x="136929" y="189988"/>
                    <a:pt x="97114" y="257806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4" name="Google Shape;254;p12"/>
            <p:cNvSpPr/>
            <p:nvPr/>
          </p:nvSpPr>
          <p:spPr>
            <a:xfrm>
              <a:off x="7309787" y="1745656"/>
              <a:ext cx="93295" cy="72283"/>
            </a:xfrm>
            <a:custGeom>
              <a:avLst/>
              <a:gdLst/>
              <a:ahLst/>
              <a:cxnLst/>
              <a:rect l="l" t="t" r="r" b="b"/>
              <a:pathLst>
                <a:path w="116692" h="90410" extrusionOk="0">
                  <a:moveTo>
                    <a:pt x="107433" y="2"/>
                  </a:moveTo>
                  <a:cubicBezTo>
                    <a:pt x="93527" y="11337"/>
                    <a:pt x="72857" y="955"/>
                    <a:pt x="71810" y="2003"/>
                  </a:cubicBezTo>
                  <a:cubicBezTo>
                    <a:pt x="55417" y="17271"/>
                    <a:pt x="38177" y="31616"/>
                    <a:pt x="20184" y="44960"/>
                  </a:cubicBezTo>
                  <a:cubicBezTo>
                    <a:pt x="11421" y="51818"/>
                    <a:pt x="-2105" y="61057"/>
                    <a:pt x="277" y="74202"/>
                  </a:cubicBezTo>
                  <a:cubicBezTo>
                    <a:pt x="4753" y="97824"/>
                    <a:pt x="42472" y="90585"/>
                    <a:pt x="56665" y="83727"/>
                  </a:cubicBezTo>
                  <a:cubicBezTo>
                    <a:pt x="70857" y="76869"/>
                    <a:pt x="82573" y="64677"/>
                    <a:pt x="96003" y="56200"/>
                  </a:cubicBezTo>
                  <a:cubicBezTo>
                    <a:pt x="105528" y="50199"/>
                    <a:pt x="115053" y="47151"/>
                    <a:pt x="116577" y="34959"/>
                  </a:cubicBezTo>
                  <a:cubicBezTo>
                    <a:pt x="117720" y="27244"/>
                    <a:pt x="110100" y="-284"/>
                    <a:pt x="107433" y="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5" name="Google Shape;255;p12"/>
            <p:cNvSpPr/>
            <p:nvPr/>
          </p:nvSpPr>
          <p:spPr>
            <a:xfrm>
              <a:off x="7310617" y="1769417"/>
              <a:ext cx="92899" cy="48456"/>
            </a:xfrm>
            <a:custGeom>
              <a:avLst/>
              <a:gdLst/>
              <a:ahLst/>
              <a:cxnLst/>
              <a:rect l="l" t="t" r="r" b="b"/>
              <a:pathLst>
                <a:path w="116196" h="60608" extrusionOk="0">
                  <a:moveTo>
                    <a:pt x="115919" y="0"/>
                  </a:moveTo>
                  <a:cubicBezTo>
                    <a:pt x="114110" y="11621"/>
                    <a:pt x="104775" y="14764"/>
                    <a:pt x="95250" y="20765"/>
                  </a:cubicBezTo>
                  <a:cubicBezTo>
                    <a:pt x="81534" y="29242"/>
                    <a:pt x="69437" y="41529"/>
                    <a:pt x="55245" y="48673"/>
                  </a:cubicBezTo>
                  <a:cubicBezTo>
                    <a:pt x="41053" y="55817"/>
                    <a:pt x="9239" y="62008"/>
                    <a:pt x="0" y="45149"/>
                  </a:cubicBezTo>
                  <a:cubicBezTo>
                    <a:pt x="5048" y="67913"/>
                    <a:pt x="42101" y="60770"/>
                    <a:pt x="56198" y="53626"/>
                  </a:cubicBezTo>
                  <a:cubicBezTo>
                    <a:pt x="70295" y="46482"/>
                    <a:pt x="82106" y="34576"/>
                    <a:pt x="95536" y="26099"/>
                  </a:cubicBezTo>
                  <a:cubicBezTo>
                    <a:pt x="105061" y="20098"/>
                    <a:pt x="114586" y="17050"/>
                    <a:pt x="116110" y="4858"/>
                  </a:cubicBezTo>
                  <a:cubicBezTo>
                    <a:pt x="116272" y="3239"/>
                    <a:pt x="116205" y="1600"/>
                    <a:pt x="115919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6" name="Google Shape;256;p12"/>
            <p:cNvSpPr/>
            <p:nvPr/>
          </p:nvSpPr>
          <p:spPr>
            <a:xfrm>
              <a:off x="7197828" y="1680648"/>
              <a:ext cx="93274" cy="69610"/>
            </a:xfrm>
            <a:custGeom>
              <a:avLst/>
              <a:gdLst/>
              <a:ahLst/>
              <a:cxnLst/>
              <a:rect l="l" t="t" r="r" b="b"/>
              <a:pathLst>
                <a:path w="116665" h="87067" extrusionOk="0">
                  <a:moveTo>
                    <a:pt x="105833" y="64"/>
                  </a:moveTo>
                  <a:cubicBezTo>
                    <a:pt x="91831" y="11398"/>
                    <a:pt x="67733" y="-984"/>
                    <a:pt x="66305" y="64"/>
                  </a:cubicBezTo>
                  <a:cubicBezTo>
                    <a:pt x="51722" y="14780"/>
                    <a:pt x="36329" y="28677"/>
                    <a:pt x="20204" y="41688"/>
                  </a:cubicBezTo>
                  <a:cubicBezTo>
                    <a:pt x="11440" y="48546"/>
                    <a:pt x="-2180" y="57690"/>
                    <a:pt x="296" y="70930"/>
                  </a:cubicBezTo>
                  <a:cubicBezTo>
                    <a:pt x="4678" y="94456"/>
                    <a:pt x="42492" y="87217"/>
                    <a:pt x="56684" y="80455"/>
                  </a:cubicBezTo>
                  <a:cubicBezTo>
                    <a:pt x="70876" y="73692"/>
                    <a:pt x="82592" y="61405"/>
                    <a:pt x="96022" y="52927"/>
                  </a:cubicBezTo>
                  <a:cubicBezTo>
                    <a:pt x="105547" y="47022"/>
                    <a:pt x="115072" y="43879"/>
                    <a:pt x="116597" y="31782"/>
                  </a:cubicBezTo>
                  <a:cubicBezTo>
                    <a:pt x="117549" y="23495"/>
                    <a:pt x="108310" y="-698"/>
                    <a:pt x="105833" y="64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7" name="Google Shape;257;p12"/>
            <p:cNvSpPr/>
            <p:nvPr/>
          </p:nvSpPr>
          <p:spPr>
            <a:xfrm>
              <a:off x="7198064" y="1702707"/>
              <a:ext cx="92850" cy="48456"/>
            </a:xfrm>
            <a:custGeom>
              <a:avLst/>
              <a:gdLst/>
              <a:ahLst/>
              <a:cxnLst/>
              <a:rect l="l" t="t" r="r" b="b"/>
              <a:pathLst>
                <a:path w="116135" h="60608" extrusionOk="0">
                  <a:moveTo>
                    <a:pt x="115919" y="0"/>
                  </a:moveTo>
                  <a:cubicBezTo>
                    <a:pt x="114014" y="11621"/>
                    <a:pt x="104680" y="14764"/>
                    <a:pt x="95155" y="20765"/>
                  </a:cubicBezTo>
                  <a:cubicBezTo>
                    <a:pt x="81439" y="29242"/>
                    <a:pt x="69437" y="41529"/>
                    <a:pt x="55150" y="48673"/>
                  </a:cubicBezTo>
                  <a:cubicBezTo>
                    <a:pt x="40862" y="55817"/>
                    <a:pt x="9239" y="62008"/>
                    <a:pt x="0" y="45149"/>
                  </a:cubicBezTo>
                  <a:cubicBezTo>
                    <a:pt x="4953" y="67913"/>
                    <a:pt x="42101" y="60770"/>
                    <a:pt x="56198" y="53626"/>
                  </a:cubicBezTo>
                  <a:cubicBezTo>
                    <a:pt x="70295" y="46482"/>
                    <a:pt x="82010" y="34576"/>
                    <a:pt x="95536" y="26099"/>
                  </a:cubicBezTo>
                  <a:cubicBezTo>
                    <a:pt x="105061" y="20098"/>
                    <a:pt x="114586" y="17050"/>
                    <a:pt x="116110" y="4858"/>
                  </a:cubicBezTo>
                  <a:cubicBezTo>
                    <a:pt x="116177" y="3238"/>
                    <a:pt x="116110" y="1610"/>
                    <a:pt x="115919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8" name="Google Shape;258;p12"/>
            <p:cNvSpPr/>
            <p:nvPr/>
          </p:nvSpPr>
          <p:spPr>
            <a:xfrm>
              <a:off x="7221254" y="1360384"/>
              <a:ext cx="326700" cy="394943"/>
            </a:xfrm>
            <a:custGeom>
              <a:avLst/>
              <a:gdLst/>
              <a:ahLst/>
              <a:cxnLst/>
              <a:rect l="l" t="t" r="r" b="b"/>
              <a:pathLst>
                <a:path w="408631" h="493987" extrusionOk="0">
                  <a:moveTo>
                    <a:pt x="405429" y="33455"/>
                  </a:moveTo>
                  <a:cubicBezTo>
                    <a:pt x="420955" y="130325"/>
                    <a:pt x="377902" y="166805"/>
                    <a:pt x="321990" y="187094"/>
                  </a:cubicBezTo>
                  <a:cubicBezTo>
                    <a:pt x="281890" y="201857"/>
                    <a:pt x="224264" y="224622"/>
                    <a:pt x="224264" y="224622"/>
                  </a:cubicBezTo>
                  <a:cubicBezTo>
                    <a:pt x="224264" y="224622"/>
                    <a:pt x="225121" y="245863"/>
                    <a:pt x="225502" y="293583"/>
                  </a:cubicBezTo>
                  <a:cubicBezTo>
                    <a:pt x="225978" y="335588"/>
                    <a:pt x="220359" y="489036"/>
                    <a:pt x="220359" y="489036"/>
                  </a:cubicBezTo>
                  <a:cubicBezTo>
                    <a:pt x="206862" y="495799"/>
                    <a:pt x="190936" y="495627"/>
                    <a:pt x="177591" y="488560"/>
                  </a:cubicBezTo>
                  <a:cubicBezTo>
                    <a:pt x="177591" y="488560"/>
                    <a:pt x="155017" y="371021"/>
                    <a:pt x="150255" y="318062"/>
                  </a:cubicBezTo>
                  <a:cubicBezTo>
                    <a:pt x="143778" y="246149"/>
                    <a:pt x="132729" y="199095"/>
                    <a:pt x="136348" y="183665"/>
                  </a:cubicBezTo>
                  <a:cubicBezTo>
                    <a:pt x="139587" y="170044"/>
                    <a:pt x="218168" y="131372"/>
                    <a:pt x="243123" y="110703"/>
                  </a:cubicBezTo>
                  <a:lnTo>
                    <a:pt x="78531" y="165853"/>
                  </a:lnTo>
                  <a:cubicBezTo>
                    <a:pt x="81789" y="183703"/>
                    <a:pt x="83380" y="201810"/>
                    <a:pt x="83294" y="219955"/>
                  </a:cubicBezTo>
                  <a:cubicBezTo>
                    <a:pt x="81770" y="277105"/>
                    <a:pt x="78627" y="400453"/>
                    <a:pt x="78627" y="400453"/>
                  </a:cubicBezTo>
                  <a:cubicBezTo>
                    <a:pt x="78627" y="400453"/>
                    <a:pt x="56053" y="416741"/>
                    <a:pt x="36812" y="400453"/>
                  </a:cubicBezTo>
                  <a:cubicBezTo>
                    <a:pt x="36812" y="400453"/>
                    <a:pt x="-4622" y="156137"/>
                    <a:pt x="427" y="124229"/>
                  </a:cubicBezTo>
                  <a:cubicBezTo>
                    <a:pt x="5189" y="93558"/>
                    <a:pt x="150255" y="30788"/>
                    <a:pt x="175782" y="9167"/>
                  </a:cubicBezTo>
                  <a:cubicBezTo>
                    <a:pt x="184802" y="1843"/>
                    <a:pt x="196499" y="-1308"/>
                    <a:pt x="207976" y="49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9" name="Google Shape;259;p12"/>
            <p:cNvSpPr/>
            <p:nvPr/>
          </p:nvSpPr>
          <p:spPr>
            <a:xfrm>
              <a:off x="7417903" y="1095544"/>
              <a:ext cx="102781" cy="99997"/>
            </a:xfrm>
            <a:custGeom>
              <a:avLst/>
              <a:gdLst/>
              <a:ahLst/>
              <a:cxnLst/>
              <a:rect l="l" t="t" r="r" b="b"/>
              <a:pathLst>
                <a:path w="128556" h="125075" extrusionOk="0">
                  <a:moveTo>
                    <a:pt x="102220" y="0"/>
                  </a:moveTo>
                  <a:cubicBezTo>
                    <a:pt x="102220" y="0"/>
                    <a:pt x="99838" y="46196"/>
                    <a:pt x="100886" y="50292"/>
                  </a:cubicBezTo>
                  <a:cubicBezTo>
                    <a:pt x="101934" y="54388"/>
                    <a:pt x="122032" y="67913"/>
                    <a:pt x="127937" y="72676"/>
                  </a:cubicBezTo>
                  <a:cubicBezTo>
                    <a:pt x="133843" y="77438"/>
                    <a:pt x="96029" y="114776"/>
                    <a:pt x="77645" y="123253"/>
                  </a:cubicBezTo>
                  <a:cubicBezTo>
                    <a:pt x="59262" y="131731"/>
                    <a:pt x="1445" y="109442"/>
                    <a:pt x="112" y="80867"/>
                  </a:cubicBezTo>
                  <a:cubicBezTo>
                    <a:pt x="-1222" y="52292"/>
                    <a:pt x="9637" y="28289"/>
                    <a:pt x="19162" y="27051"/>
                  </a:cubicBezTo>
                  <a:cubicBezTo>
                    <a:pt x="28687" y="25813"/>
                    <a:pt x="102220" y="0"/>
                    <a:pt x="102220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0" name="Google Shape;260;p12"/>
            <p:cNvSpPr/>
            <p:nvPr/>
          </p:nvSpPr>
          <p:spPr>
            <a:xfrm>
              <a:off x="7381720" y="1109556"/>
              <a:ext cx="166775" cy="325513"/>
            </a:xfrm>
            <a:custGeom>
              <a:avLst/>
              <a:gdLst/>
              <a:ahLst/>
              <a:cxnLst/>
              <a:rect l="l" t="t" r="r" b="b"/>
              <a:pathLst>
                <a:path w="208599" h="407146" extrusionOk="0">
                  <a:moveTo>
                    <a:pt x="152620" y="40673"/>
                  </a:moveTo>
                  <a:cubicBezTo>
                    <a:pt x="152620" y="40673"/>
                    <a:pt x="119187" y="90584"/>
                    <a:pt x="72419" y="95251"/>
                  </a:cubicBezTo>
                  <a:cubicBezTo>
                    <a:pt x="57751" y="80773"/>
                    <a:pt x="56417" y="28576"/>
                    <a:pt x="76801" y="12574"/>
                  </a:cubicBezTo>
                  <a:cubicBezTo>
                    <a:pt x="76801" y="12574"/>
                    <a:pt x="57751" y="-2571"/>
                    <a:pt x="45178" y="382"/>
                  </a:cubicBezTo>
                  <a:cubicBezTo>
                    <a:pt x="31481" y="8783"/>
                    <a:pt x="21327" y="21888"/>
                    <a:pt x="16603" y="37244"/>
                  </a:cubicBezTo>
                  <a:cubicBezTo>
                    <a:pt x="4658" y="71536"/>
                    <a:pt x="-923" y="107721"/>
                    <a:pt x="124" y="144019"/>
                  </a:cubicBezTo>
                  <a:cubicBezTo>
                    <a:pt x="886" y="192977"/>
                    <a:pt x="124" y="316707"/>
                    <a:pt x="124" y="316707"/>
                  </a:cubicBezTo>
                  <a:cubicBezTo>
                    <a:pt x="5620" y="346271"/>
                    <a:pt x="23556" y="372047"/>
                    <a:pt x="49369" y="387478"/>
                  </a:cubicBezTo>
                  <a:cubicBezTo>
                    <a:pt x="83068" y="406490"/>
                    <a:pt x="122740" y="411976"/>
                    <a:pt x="160335" y="402813"/>
                  </a:cubicBezTo>
                  <a:cubicBezTo>
                    <a:pt x="183957" y="397289"/>
                    <a:pt x="192720" y="383763"/>
                    <a:pt x="200911" y="366904"/>
                  </a:cubicBezTo>
                  <a:cubicBezTo>
                    <a:pt x="198816" y="332614"/>
                    <a:pt x="185195" y="262129"/>
                    <a:pt x="190910" y="218790"/>
                  </a:cubicBezTo>
                  <a:cubicBezTo>
                    <a:pt x="196625" y="175451"/>
                    <a:pt x="205769" y="143447"/>
                    <a:pt x="208150" y="108586"/>
                  </a:cubicBezTo>
                  <a:cubicBezTo>
                    <a:pt x="210532" y="73724"/>
                    <a:pt x="203483" y="74391"/>
                    <a:pt x="186052" y="62009"/>
                  </a:cubicBezTo>
                  <a:cubicBezTo>
                    <a:pt x="175442" y="54092"/>
                    <a:pt x="164269" y="46962"/>
                    <a:pt x="152620" y="40673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1" name="Google Shape;261;p12"/>
            <p:cNvSpPr/>
            <p:nvPr/>
          </p:nvSpPr>
          <p:spPr>
            <a:xfrm>
              <a:off x="7413797" y="991818"/>
              <a:ext cx="110760" cy="134864"/>
            </a:xfrm>
            <a:custGeom>
              <a:avLst/>
              <a:gdLst/>
              <a:ahLst/>
              <a:cxnLst/>
              <a:rect l="l" t="t" r="r" b="b"/>
              <a:pathLst>
                <a:path w="138537" h="168686" extrusionOk="0">
                  <a:moveTo>
                    <a:pt x="2962" y="60969"/>
                  </a:moveTo>
                  <a:lnTo>
                    <a:pt x="2962" y="60969"/>
                  </a:lnTo>
                  <a:cubicBezTo>
                    <a:pt x="8486" y="25155"/>
                    <a:pt x="34204" y="-1896"/>
                    <a:pt x="71161" y="104"/>
                  </a:cubicBezTo>
                  <a:cubicBezTo>
                    <a:pt x="110299" y="2083"/>
                    <a:pt x="140427" y="35416"/>
                    <a:pt x="138445" y="74557"/>
                  </a:cubicBezTo>
                  <a:cubicBezTo>
                    <a:pt x="137321" y="96813"/>
                    <a:pt x="125806" y="117248"/>
                    <a:pt x="107356" y="129739"/>
                  </a:cubicBezTo>
                  <a:cubicBezTo>
                    <a:pt x="106032" y="135172"/>
                    <a:pt x="104117" y="140443"/>
                    <a:pt x="101641" y="145456"/>
                  </a:cubicBezTo>
                  <a:cubicBezTo>
                    <a:pt x="88592" y="160696"/>
                    <a:pt x="49063" y="170125"/>
                    <a:pt x="37728" y="168506"/>
                  </a:cubicBezTo>
                  <a:cubicBezTo>
                    <a:pt x="23907" y="167251"/>
                    <a:pt x="12249" y="157706"/>
                    <a:pt x="8296" y="144408"/>
                  </a:cubicBezTo>
                  <a:cubicBezTo>
                    <a:pt x="-3610" y="116309"/>
                    <a:pt x="-86" y="78685"/>
                    <a:pt x="2962" y="60969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2" name="Google Shape;262;p12"/>
            <p:cNvSpPr/>
            <p:nvPr/>
          </p:nvSpPr>
          <p:spPr>
            <a:xfrm>
              <a:off x="7417935" y="980032"/>
              <a:ext cx="116886" cy="115512"/>
            </a:xfrm>
            <a:custGeom>
              <a:avLst/>
              <a:gdLst/>
              <a:ahLst/>
              <a:cxnLst/>
              <a:rect l="l" t="t" r="r" b="b"/>
              <a:pathLst>
                <a:path w="146199" h="144480" extrusionOk="0">
                  <a:moveTo>
                    <a:pt x="102179" y="144481"/>
                  </a:moveTo>
                  <a:lnTo>
                    <a:pt x="102179" y="144481"/>
                  </a:lnTo>
                  <a:lnTo>
                    <a:pt x="98750" y="113239"/>
                  </a:lnTo>
                  <a:cubicBezTo>
                    <a:pt x="98750" y="113239"/>
                    <a:pt x="124277" y="47135"/>
                    <a:pt x="63984" y="59899"/>
                  </a:cubicBezTo>
                  <a:cubicBezTo>
                    <a:pt x="24169" y="68281"/>
                    <a:pt x="14168" y="71900"/>
                    <a:pt x="2072" y="45135"/>
                  </a:cubicBezTo>
                  <a:cubicBezTo>
                    <a:pt x="-10025" y="18370"/>
                    <a:pt x="32647" y="-5538"/>
                    <a:pt x="83415" y="1129"/>
                  </a:cubicBezTo>
                  <a:cubicBezTo>
                    <a:pt x="119648" y="4934"/>
                    <a:pt x="146928" y="35857"/>
                    <a:pt x="146185" y="72281"/>
                  </a:cubicBezTo>
                  <a:cubicBezTo>
                    <a:pt x="144851" y="91903"/>
                    <a:pt x="139612" y="131717"/>
                    <a:pt x="102179" y="144481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3" name="Google Shape;263;p12"/>
            <p:cNvSpPr/>
            <p:nvPr/>
          </p:nvSpPr>
          <p:spPr>
            <a:xfrm>
              <a:off x="7364000" y="1109861"/>
              <a:ext cx="53839" cy="78361"/>
            </a:xfrm>
            <a:custGeom>
              <a:avLst/>
              <a:gdLst/>
              <a:ahLst/>
              <a:cxnLst/>
              <a:rect l="l" t="t" r="r" b="b"/>
              <a:pathLst>
                <a:path w="67341" h="98012" extrusionOk="0">
                  <a:moveTo>
                    <a:pt x="24289" y="98012"/>
                  </a:moveTo>
                  <a:cubicBezTo>
                    <a:pt x="15097" y="97573"/>
                    <a:pt x="6410" y="93657"/>
                    <a:pt x="0" y="87058"/>
                  </a:cubicBezTo>
                  <a:cubicBezTo>
                    <a:pt x="1334" y="70009"/>
                    <a:pt x="23241" y="4858"/>
                    <a:pt x="67342" y="0"/>
                  </a:cubicBezTo>
                  <a:cubicBezTo>
                    <a:pt x="55350" y="8451"/>
                    <a:pt x="45844" y="19962"/>
                    <a:pt x="39814" y="33338"/>
                  </a:cubicBezTo>
                  <a:cubicBezTo>
                    <a:pt x="32994" y="54469"/>
                    <a:pt x="27813" y="76090"/>
                    <a:pt x="24289" y="98012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4" name="Google Shape;264;p12"/>
            <p:cNvSpPr/>
            <p:nvPr/>
          </p:nvSpPr>
          <p:spPr>
            <a:xfrm>
              <a:off x="7794459" y="3551002"/>
              <a:ext cx="540508" cy="312148"/>
            </a:xfrm>
            <a:custGeom>
              <a:avLst/>
              <a:gdLst/>
              <a:ahLst/>
              <a:cxnLst/>
              <a:rect l="l" t="t" r="r" b="b"/>
              <a:pathLst>
                <a:path w="676058" h="390429" extrusionOk="0">
                  <a:moveTo>
                    <a:pt x="625735" y="92488"/>
                  </a:moveTo>
                  <a:cubicBezTo>
                    <a:pt x="610904" y="78943"/>
                    <a:pt x="594607" y="67094"/>
                    <a:pt x="577157" y="57150"/>
                  </a:cubicBezTo>
                  <a:cubicBezTo>
                    <a:pt x="445236" y="-19050"/>
                    <a:pt x="230733" y="-19050"/>
                    <a:pt x="98907" y="57150"/>
                  </a:cubicBezTo>
                  <a:cubicBezTo>
                    <a:pt x="78543" y="68666"/>
                    <a:pt x="59826" y="82896"/>
                    <a:pt x="43281" y="99441"/>
                  </a:cubicBezTo>
                  <a:cubicBezTo>
                    <a:pt x="-29204" y="173831"/>
                    <a:pt x="-10630" y="270034"/>
                    <a:pt x="98907" y="333280"/>
                  </a:cubicBezTo>
                  <a:cubicBezTo>
                    <a:pt x="230733" y="409480"/>
                    <a:pt x="445331" y="409480"/>
                    <a:pt x="577157" y="333280"/>
                  </a:cubicBezTo>
                  <a:cubicBezTo>
                    <a:pt x="690124" y="268033"/>
                    <a:pt x="706316" y="167735"/>
                    <a:pt x="625735" y="92488"/>
                  </a:cubicBezTo>
                  <a:close/>
                  <a:moveTo>
                    <a:pt x="535152" y="308610"/>
                  </a:moveTo>
                  <a:cubicBezTo>
                    <a:pt x="426472" y="371380"/>
                    <a:pt x="249402" y="371380"/>
                    <a:pt x="141008" y="308610"/>
                  </a:cubicBezTo>
                  <a:cubicBezTo>
                    <a:pt x="64808" y="264605"/>
                    <a:pt x="41948" y="201168"/>
                    <a:pt x="72713" y="145542"/>
                  </a:cubicBezTo>
                  <a:cubicBezTo>
                    <a:pt x="89277" y="118310"/>
                    <a:pt x="112871" y="96031"/>
                    <a:pt x="141008" y="81058"/>
                  </a:cubicBezTo>
                  <a:cubicBezTo>
                    <a:pt x="249688" y="18383"/>
                    <a:pt x="426758" y="18383"/>
                    <a:pt x="535152" y="81058"/>
                  </a:cubicBezTo>
                  <a:cubicBezTo>
                    <a:pt x="563260" y="96002"/>
                    <a:pt x="586797" y="118291"/>
                    <a:pt x="603256" y="145542"/>
                  </a:cubicBezTo>
                  <a:lnTo>
                    <a:pt x="603256" y="145542"/>
                  </a:lnTo>
                  <a:cubicBezTo>
                    <a:pt x="634117" y="201549"/>
                    <a:pt x="611352" y="264890"/>
                    <a:pt x="535152" y="308610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5" name="Google Shape;265;p12"/>
            <p:cNvSpPr/>
            <p:nvPr/>
          </p:nvSpPr>
          <p:spPr>
            <a:xfrm>
              <a:off x="7824798" y="3491907"/>
              <a:ext cx="469764" cy="181297"/>
            </a:xfrm>
            <a:custGeom>
              <a:avLst/>
              <a:gdLst/>
              <a:ahLst/>
              <a:cxnLst/>
              <a:rect l="l" t="t" r="r" b="b"/>
              <a:pathLst>
                <a:path w="587572" h="226763" extrusionOk="0">
                  <a:moveTo>
                    <a:pt x="565309" y="219837"/>
                  </a:moveTo>
                  <a:lnTo>
                    <a:pt x="565309" y="219837"/>
                  </a:lnTo>
                  <a:cubicBezTo>
                    <a:pt x="548849" y="192586"/>
                    <a:pt x="525313" y="170297"/>
                    <a:pt x="497205" y="155353"/>
                  </a:cubicBezTo>
                  <a:cubicBezTo>
                    <a:pt x="388525" y="92678"/>
                    <a:pt x="211455" y="92678"/>
                    <a:pt x="103061" y="155353"/>
                  </a:cubicBezTo>
                  <a:cubicBezTo>
                    <a:pt x="74924" y="170326"/>
                    <a:pt x="51330" y="192605"/>
                    <a:pt x="34766" y="219837"/>
                  </a:cubicBezTo>
                  <a:lnTo>
                    <a:pt x="5334" y="172974"/>
                  </a:lnTo>
                  <a:lnTo>
                    <a:pt x="0" y="164497"/>
                  </a:lnTo>
                  <a:lnTo>
                    <a:pt x="38100" y="73533"/>
                  </a:lnTo>
                  <a:lnTo>
                    <a:pt x="170402" y="0"/>
                  </a:lnTo>
                  <a:lnTo>
                    <a:pt x="416719" y="4286"/>
                  </a:lnTo>
                  <a:lnTo>
                    <a:pt x="584073" y="103537"/>
                  </a:lnTo>
                  <a:cubicBezTo>
                    <a:pt x="584073" y="103537"/>
                    <a:pt x="587121" y="134969"/>
                    <a:pt x="587502" y="166021"/>
                  </a:cubicBezTo>
                  <a:cubicBezTo>
                    <a:pt x="588169" y="204883"/>
                    <a:pt x="584359" y="242697"/>
                    <a:pt x="565309" y="219837"/>
                  </a:cubicBezTo>
                  <a:close/>
                </a:path>
              </a:pathLst>
            </a:custGeom>
            <a:solidFill>
              <a:srgbClr val="A1A5B5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6" name="Google Shape;266;p12"/>
            <p:cNvSpPr/>
            <p:nvPr/>
          </p:nvSpPr>
          <p:spPr>
            <a:xfrm>
              <a:off x="7794490" y="3623727"/>
              <a:ext cx="41046" cy="82625"/>
            </a:xfrm>
            <a:custGeom>
              <a:avLst/>
              <a:gdLst/>
              <a:ahLst/>
              <a:cxnLst/>
              <a:rect l="l" t="t" r="r" b="b"/>
              <a:pathLst>
                <a:path w="51339" h="103346" extrusionOk="0">
                  <a:moveTo>
                    <a:pt x="0" y="103346"/>
                  </a:moveTo>
                  <a:lnTo>
                    <a:pt x="95" y="0"/>
                  </a:lnTo>
                  <a:lnTo>
                    <a:pt x="51340" y="86773"/>
                  </a:lnTo>
                  <a:lnTo>
                    <a:pt x="0" y="103346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7" name="Google Shape;267;p12"/>
            <p:cNvSpPr/>
            <p:nvPr/>
          </p:nvSpPr>
          <p:spPr>
            <a:xfrm>
              <a:off x="8298847" y="3624184"/>
              <a:ext cx="36096" cy="82168"/>
            </a:xfrm>
            <a:custGeom>
              <a:avLst/>
              <a:gdLst/>
              <a:ahLst/>
              <a:cxnLst/>
              <a:rect l="l" t="t" r="r" b="b"/>
              <a:pathLst>
                <a:path w="45148" h="102774" extrusionOk="0">
                  <a:moveTo>
                    <a:pt x="45148" y="102775"/>
                  </a:moveTo>
                  <a:lnTo>
                    <a:pt x="45148" y="0"/>
                  </a:lnTo>
                  <a:lnTo>
                    <a:pt x="0" y="51149"/>
                  </a:lnTo>
                  <a:lnTo>
                    <a:pt x="45148" y="102775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8" name="Google Shape;268;p12"/>
            <p:cNvSpPr/>
            <p:nvPr/>
          </p:nvSpPr>
          <p:spPr>
            <a:xfrm>
              <a:off x="7842237" y="3535238"/>
              <a:ext cx="449908" cy="259679"/>
            </a:xfrm>
            <a:custGeom>
              <a:avLst/>
              <a:gdLst/>
              <a:ahLst/>
              <a:cxnLst/>
              <a:rect l="l" t="t" r="r" b="b"/>
              <a:pathLst>
                <a:path w="562737" h="324802" extrusionOk="0">
                  <a:moveTo>
                    <a:pt x="562737" y="162401"/>
                  </a:moveTo>
                  <a:cubicBezTo>
                    <a:pt x="562737" y="252093"/>
                    <a:pt x="436764" y="324802"/>
                    <a:pt x="281368" y="324802"/>
                  </a:cubicBezTo>
                  <a:cubicBezTo>
                    <a:pt x="125973" y="324802"/>
                    <a:pt x="0" y="252093"/>
                    <a:pt x="0" y="162401"/>
                  </a:cubicBezTo>
                  <a:cubicBezTo>
                    <a:pt x="0" y="72710"/>
                    <a:pt x="125973" y="0"/>
                    <a:pt x="281368" y="0"/>
                  </a:cubicBezTo>
                  <a:cubicBezTo>
                    <a:pt x="436764" y="0"/>
                    <a:pt x="562737" y="72710"/>
                    <a:pt x="562737" y="162401"/>
                  </a:cubicBezTo>
                  <a:close/>
                </a:path>
              </a:pathLst>
            </a:custGeom>
            <a:solidFill>
              <a:srgbClr val="3E7EFF">
                <a:alpha val="9800"/>
              </a:srgbClr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9" name="Google Shape;269;p12"/>
            <p:cNvSpPr/>
            <p:nvPr/>
          </p:nvSpPr>
          <p:spPr>
            <a:xfrm>
              <a:off x="7815050" y="3673683"/>
              <a:ext cx="491482" cy="176325"/>
            </a:xfrm>
            <a:custGeom>
              <a:avLst/>
              <a:gdLst/>
              <a:ahLst/>
              <a:cxnLst/>
              <a:rect l="l" t="t" r="r" b="b"/>
              <a:pathLst>
                <a:path w="614737" h="220544" extrusionOk="0">
                  <a:moveTo>
                    <a:pt x="0" y="58293"/>
                  </a:moveTo>
                  <a:cubicBezTo>
                    <a:pt x="0" y="58293"/>
                    <a:pt x="43339" y="228981"/>
                    <a:pt x="366522" y="220218"/>
                  </a:cubicBezTo>
                  <a:cubicBezTo>
                    <a:pt x="590836" y="220218"/>
                    <a:pt x="619506" y="27432"/>
                    <a:pt x="614172" y="0"/>
                  </a:cubicBezTo>
                  <a:cubicBezTo>
                    <a:pt x="567595" y="64189"/>
                    <a:pt x="495062" y="104556"/>
                    <a:pt x="415957" y="110300"/>
                  </a:cubicBezTo>
                  <a:cubicBezTo>
                    <a:pt x="279463" y="122206"/>
                    <a:pt x="178689" y="120682"/>
                    <a:pt x="124778" y="94583"/>
                  </a:cubicBezTo>
                  <a:cubicBezTo>
                    <a:pt x="70866" y="68485"/>
                    <a:pt x="95" y="0"/>
                    <a:pt x="95" y="0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0" name="Google Shape;270;p12"/>
            <p:cNvSpPr/>
            <p:nvPr/>
          </p:nvSpPr>
          <p:spPr>
            <a:xfrm>
              <a:off x="7794490" y="3472184"/>
              <a:ext cx="540453" cy="312196"/>
            </a:xfrm>
            <a:custGeom>
              <a:avLst/>
              <a:gdLst/>
              <a:ahLst/>
              <a:cxnLst/>
              <a:rect l="l" t="t" r="r" b="b"/>
              <a:pathLst>
                <a:path w="675989" h="390489" extrusionOk="0">
                  <a:moveTo>
                    <a:pt x="98869" y="333375"/>
                  </a:moveTo>
                  <a:cubicBezTo>
                    <a:pt x="-32956" y="257175"/>
                    <a:pt x="-32956" y="133350"/>
                    <a:pt x="98869" y="57150"/>
                  </a:cubicBezTo>
                  <a:cubicBezTo>
                    <a:pt x="230695" y="-19050"/>
                    <a:pt x="445294" y="-19050"/>
                    <a:pt x="577120" y="57150"/>
                  </a:cubicBezTo>
                  <a:cubicBezTo>
                    <a:pt x="708946" y="133350"/>
                    <a:pt x="708946" y="257175"/>
                    <a:pt x="577120" y="333375"/>
                  </a:cubicBezTo>
                  <a:cubicBezTo>
                    <a:pt x="445294" y="409575"/>
                    <a:pt x="230695" y="409480"/>
                    <a:pt x="98869" y="333375"/>
                  </a:cubicBezTo>
                  <a:close/>
                  <a:moveTo>
                    <a:pt x="535019" y="81534"/>
                  </a:moveTo>
                  <a:cubicBezTo>
                    <a:pt x="426339" y="18860"/>
                    <a:pt x="249269" y="18764"/>
                    <a:pt x="140970" y="81534"/>
                  </a:cubicBezTo>
                  <a:cubicBezTo>
                    <a:pt x="32671" y="144304"/>
                    <a:pt x="32290" y="246316"/>
                    <a:pt x="140970" y="309086"/>
                  </a:cubicBezTo>
                  <a:cubicBezTo>
                    <a:pt x="249650" y="371856"/>
                    <a:pt x="426720" y="371856"/>
                    <a:pt x="535019" y="309086"/>
                  </a:cubicBezTo>
                  <a:cubicBezTo>
                    <a:pt x="643319" y="246316"/>
                    <a:pt x="644176" y="144304"/>
                    <a:pt x="535019" y="81534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1" name="Google Shape;271;p12"/>
            <p:cNvSpPr/>
            <p:nvPr/>
          </p:nvSpPr>
          <p:spPr>
            <a:xfrm rot="-1801764">
              <a:off x="7461665" y="3958761"/>
              <a:ext cx="59345" cy="102714"/>
            </a:xfrm>
            <a:custGeom>
              <a:avLst/>
              <a:gdLst/>
              <a:ahLst/>
              <a:cxnLst/>
              <a:rect l="l" t="t" r="r" b="b"/>
              <a:pathLst>
                <a:path w="74294" h="128587" extrusionOk="0">
                  <a:moveTo>
                    <a:pt x="74295" y="64294"/>
                  </a:moveTo>
                  <a:cubicBezTo>
                    <a:pt x="74295" y="99802"/>
                    <a:pt x="57663" y="128588"/>
                    <a:pt x="37148" y="128588"/>
                  </a:cubicBezTo>
                  <a:cubicBezTo>
                    <a:pt x="16632" y="128588"/>
                    <a:pt x="0" y="99802"/>
                    <a:pt x="0" y="64294"/>
                  </a:cubicBezTo>
                  <a:cubicBezTo>
                    <a:pt x="0" y="28785"/>
                    <a:pt x="16632" y="0"/>
                    <a:pt x="37148" y="0"/>
                  </a:cubicBezTo>
                  <a:cubicBezTo>
                    <a:pt x="57663" y="0"/>
                    <a:pt x="74295" y="28785"/>
                    <a:pt x="74295" y="64294"/>
                  </a:cubicBez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2" name="Google Shape;272;p12"/>
            <p:cNvSpPr/>
            <p:nvPr/>
          </p:nvSpPr>
          <p:spPr>
            <a:xfrm>
              <a:off x="7752377" y="3752957"/>
              <a:ext cx="148877" cy="85976"/>
            </a:xfrm>
            <a:custGeom>
              <a:avLst/>
              <a:gdLst/>
              <a:ahLst/>
              <a:cxnLst/>
              <a:rect l="l" t="t" r="r" b="b"/>
              <a:pathLst>
                <a:path w="186213" h="107537" extrusionOk="0">
                  <a:moveTo>
                    <a:pt x="186214" y="25337"/>
                  </a:moveTo>
                  <a:lnTo>
                    <a:pt x="43910" y="107537"/>
                  </a:lnTo>
                  <a:lnTo>
                    <a:pt x="0" y="82105"/>
                  </a:lnTo>
                  <a:lnTo>
                    <a:pt x="142304" y="0"/>
                  </a:lnTo>
                  <a:lnTo>
                    <a:pt x="186214" y="2533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3" name="Google Shape;273;p12"/>
            <p:cNvSpPr/>
            <p:nvPr/>
          </p:nvSpPr>
          <p:spPr>
            <a:xfrm>
              <a:off x="7787483" y="3773138"/>
              <a:ext cx="113771" cy="106232"/>
            </a:xfrm>
            <a:custGeom>
              <a:avLst/>
              <a:gdLst/>
              <a:ahLst/>
              <a:cxnLst/>
              <a:rect l="l" t="t" r="r" b="b"/>
              <a:pathLst>
                <a:path w="142303" h="132873" extrusionOk="0">
                  <a:moveTo>
                    <a:pt x="142304" y="50768"/>
                  </a:moveTo>
                  <a:lnTo>
                    <a:pt x="0" y="132874"/>
                  </a:lnTo>
                  <a:lnTo>
                    <a:pt x="0" y="82201"/>
                  </a:lnTo>
                  <a:lnTo>
                    <a:pt x="142304" y="0"/>
                  </a:lnTo>
                  <a:lnTo>
                    <a:pt x="142304" y="50768"/>
                  </a:lnTo>
                  <a:close/>
                </a:path>
              </a:pathLst>
            </a:custGeom>
            <a:solidFill>
              <a:srgbClr val="A1A5B5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4" name="Google Shape;274;p12"/>
            <p:cNvSpPr/>
            <p:nvPr/>
          </p:nvSpPr>
          <p:spPr>
            <a:xfrm>
              <a:off x="7465892" y="3799784"/>
              <a:ext cx="344817" cy="254127"/>
            </a:xfrm>
            <a:custGeom>
              <a:avLst/>
              <a:gdLst/>
              <a:ahLst/>
              <a:cxnLst/>
              <a:rect l="l" t="t" r="r" b="b"/>
              <a:pathLst>
                <a:path w="431291" h="317858" extrusionOk="0">
                  <a:moveTo>
                    <a:pt x="431292" y="84877"/>
                  </a:moveTo>
                  <a:cubicBezTo>
                    <a:pt x="429558" y="52883"/>
                    <a:pt x="412680" y="23631"/>
                    <a:pt x="385858" y="6106"/>
                  </a:cubicBezTo>
                  <a:cubicBezTo>
                    <a:pt x="376637" y="-562"/>
                    <a:pt x="364579" y="-1867"/>
                    <a:pt x="354139" y="2676"/>
                  </a:cubicBezTo>
                  <a:lnTo>
                    <a:pt x="354139" y="2676"/>
                  </a:lnTo>
                  <a:lnTo>
                    <a:pt x="0" y="206988"/>
                  </a:lnTo>
                  <a:lnTo>
                    <a:pt x="64579" y="317859"/>
                  </a:lnTo>
                  <a:lnTo>
                    <a:pt x="414338" y="115929"/>
                  </a:lnTo>
                  <a:cubicBezTo>
                    <a:pt x="424720" y="112214"/>
                    <a:pt x="431292" y="101356"/>
                    <a:pt x="431292" y="8487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5" name="Google Shape;275;p12"/>
            <p:cNvSpPr/>
            <p:nvPr/>
          </p:nvSpPr>
          <p:spPr>
            <a:xfrm rot="-1801764">
              <a:off x="7461665" y="3958761"/>
              <a:ext cx="59345" cy="102714"/>
            </a:xfrm>
            <a:custGeom>
              <a:avLst/>
              <a:gdLst/>
              <a:ahLst/>
              <a:cxnLst/>
              <a:rect l="l" t="t" r="r" b="b"/>
              <a:pathLst>
                <a:path w="74294" h="128587" extrusionOk="0">
                  <a:moveTo>
                    <a:pt x="74295" y="64294"/>
                  </a:moveTo>
                  <a:cubicBezTo>
                    <a:pt x="74295" y="99802"/>
                    <a:pt x="57663" y="128588"/>
                    <a:pt x="37148" y="128588"/>
                  </a:cubicBezTo>
                  <a:cubicBezTo>
                    <a:pt x="16632" y="128588"/>
                    <a:pt x="0" y="99802"/>
                    <a:pt x="0" y="64294"/>
                  </a:cubicBezTo>
                  <a:cubicBezTo>
                    <a:pt x="0" y="28785"/>
                    <a:pt x="16632" y="0"/>
                    <a:pt x="37148" y="0"/>
                  </a:cubicBezTo>
                  <a:cubicBezTo>
                    <a:pt x="57663" y="0"/>
                    <a:pt x="74295" y="28785"/>
                    <a:pt x="74295" y="6429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6" name="Google Shape;276;p12"/>
            <p:cNvSpPr/>
            <p:nvPr/>
          </p:nvSpPr>
          <p:spPr>
            <a:xfrm>
              <a:off x="8113340" y="4275363"/>
              <a:ext cx="345579" cy="199519"/>
            </a:xfrm>
            <a:custGeom>
              <a:avLst/>
              <a:gdLst/>
              <a:ahLst/>
              <a:cxnLst/>
              <a:rect l="l" t="t" r="r" b="b"/>
              <a:pathLst>
                <a:path w="432244" h="249555" extrusionOk="0">
                  <a:moveTo>
                    <a:pt x="432244" y="124778"/>
                  </a:moveTo>
                  <a:cubicBezTo>
                    <a:pt x="432244" y="193690"/>
                    <a:pt x="335483" y="249555"/>
                    <a:pt x="216122" y="249555"/>
                  </a:cubicBezTo>
                  <a:cubicBezTo>
                    <a:pt x="96761" y="249555"/>
                    <a:pt x="0" y="193690"/>
                    <a:pt x="0" y="124778"/>
                  </a:cubicBezTo>
                  <a:cubicBezTo>
                    <a:pt x="0" y="55865"/>
                    <a:pt x="96761" y="0"/>
                    <a:pt x="216122" y="0"/>
                  </a:cubicBezTo>
                  <a:cubicBezTo>
                    <a:pt x="335483" y="0"/>
                    <a:pt x="432244" y="55865"/>
                    <a:pt x="432244" y="124778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7" name="Google Shape;277;p12"/>
            <p:cNvSpPr/>
            <p:nvPr/>
          </p:nvSpPr>
          <p:spPr>
            <a:xfrm>
              <a:off x="8345604" y="3658605"/>
              <a:ext cx="79241" cy="172485"/>
            </a:xfrm>
            <a:custGeom>
              <a:avLst/>
              <a:gdLst/>
              <a:ahLst/>
              <a:cxnLst/>
              <a:rect l="l" t="t" r="r" b="b"/>
              <a:pathLst>
                <a:path w="99113" h="215741" extrusionOk="0">
                  <a:moveTo>
                    <a:pt x="77248" y="0"/>
                  </a:moveTo>
                  <a:cubicBezTo>
                    <a:pt x="79534" y="20098"/>
                    <a:pt x="103537" y="106775"/>
                    <a:pt x="98393" y="136398"/>
                  </a:cubicBezTo>
                  <a:cubicBezTo>
                    <a:pt x="93250" y="166021"/>
                    <a:pt x="11335" y="215741"/>
                    <a:pt x="11335" y="215741"/>
                  </a:cubicBezTo>
                  <a:lnTo>
                    <a:pt x="0" y="164973"/>
                  </a:lnTo>
                  <a:lnTo>
                    <a:pt x="45339" y="120491"/>
                  </a:lnTo>
                  <a:lnTo>
                    <a:pt x="33052" y="36385"/>
                  </a:ln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8" name="Google Shape;278;p12"/>
            <p:cNvSpPr/>
            <p:nvPr/>
          </p:nvSpPr>
          <p:spPr>
            <a:xfrm>
              <a:off x="8356722" y="3587657"/>
              <a:ext cx="56961" cy="109603"/>
            </a:xfrm>
            <a:custGeom>
              <a:avLst/>
              <a:gdLst/>
              <a:ahLst/>
              <a:cxnLst/>
              <a:rect l="l" t="t" r="r" b="b"/>
              <a:pathLst>
                <a:path w="71246" h="137090" extrusionOk="0">
                  <a:moveTo>
                    <a:pt x="0" y="3302"/>
                  </a:moveTo>
                  <a:cubicBezTo>
                    <a:pt x="16516" y="-4309"/>
                    <a:pt x="36109" y="1625"/>
                    <a:pt x="45625" y="17113"/>
                  </a:cubicBezTo>
                  <a:cubicBezTo>
                    <a:pt x="57626" y="37020"/>
                    <a:pt x="70104" y="105505"/>
                    <a:pt x="71247" y="117125"/>
                  </a:cubicBezTo>
                  <a:cubicBezTo>
                    <a:pt x="71247" y="117125"/>
                    <a:pt x="54388" y="140557"/>
                    <a:pt x="29051" y="136652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9" name="Google Shape;279;p12"/>
            <p:cNvSpPr/>
            <p:nvPr/>
          </p:nvSpPr>
          <p:spPr>
            <a:xfrm>
              <a:off x="8165307" y="4346248"/>
              <a:ext cx="122882" cy="68919"/>
            </a:xfrm>
            <a:custGeom>
              <a:avLst/>
              <a:gdLst/>
              <a:ahLst/>
              <a:cxnLst/>
              <a:rect l="l" t="t" r="r" b="b"/>
              <a:pathLst>
                <a:path w="153698" h="86203" extrusionOk="0">
                  <a:moveTo>
                    <a:pt x="145884" y="20876"/>
                  </a:moveTo>
                  <a:cubicBezTo>
                    <a:pt x="128063" y="25743"/>
                    <a:pt x="109051" y="23409"/>
                    <a:pt x="92925" y="14399"/>
                  </a:cubicBezTo>
                  <a:cubicBezTo>
                    <a:pt x="80162" y="14399"/>
                    <a:pt x="10820" y="-14843"/>
                    <a:pt x="1390" y="10017"/>
                  </a:cubicBezTo>
                  <a:cubicBezTo>
                    <a:pt x="-6802" y="31925"/>
                    <a:pt x="23202" y="52118"/>
                    <a:pt x="39490" y="55928"/>
                  </a:cubicBezTo>
                  <a:cubicBezTo>
                    <a:pt x="74542" y="64405"/>
                    <a:pt x="100355" y="81931"/>
                    <a:pt x="114451" y="84503"/>
                  </a:cubicBezTo>
                  <a:cubicBezTo>
                    <a:pt x="124929" y="86694"/>
                    <a:pt x="138455" y="88122"/>
                    <a:pt x="146837" y="79931"/>
                  </a:cubicBezTo>
                  <a:cubicBezTo>
                    <a:pt x="156552" y="70406"/>
                    <a:pt x="155695" y="33830"/>
                    <a:pt x="145884" y="20876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0" name="Google Shape;280;p12"/>
            <p:cNvSpPr/>
            <p:nvPr/>
          </p:nvSpPr>
          <p:spPr>
            <a:xfrm>
              <a:off x="8165313" y="4357988"/>
              <a:ext cx="120815" cy="57407"/>
            </a:xfrm>
            <a:custGeom>
              <a:avLst/>
              <a:gdLst/>
              <a:ahLst/>
              <a:cxnLst/>
              <a:rect l="l" t="t" r="r" b="b"/>
              <a:pathLst>
                <a:path w="151113" h="71804" extrusionOk="0">
                  <a:moveTo>
                    <a:pt x="114156" y="64103"/>
                  </a:moveTo>
                  <a:cubicBezTo>
                    <a:pt x="100059" y="61150"/>
                    <a:pt x="74246" y="43720"/>
                    <a:pt x="39195" y="35528"/>
                  </a:cubicBezTo>
                  <a:cubicBezTo>
                    <a:pt x="25764" y="32290"/>
                    <a:pt x="2619" y="17526"/>
                    <a:pt x="237" y="0"/>
                  </a:cubicBezTo>
                  <a:cubicBezTo>
                    <a:pt x="-2811" y="20098"/>
                    <a:pt x="24240" y="38100"/>
                    <a:pt x="39195" y="41529"/>
                  </a:cubicBezTo>
                  <a:cubicBezTo>
                    <a:pt x="74246" y="50006"/>
                    <a:pt x="100059" y="67532"/>
                    <a:pt x="114156" y="70104"/>
                  </a:cubicBezTo>
                  <a:cubicBezTo>
                    <a:pt x="124634" y="72295"/>
                    <a:pt x="138159" y="73723"/>
                    <a:pt x="146541" y="65532"/>
                  </a:cubicBezTo>
                  <a:cubicBezTo>
                    <a:pt x="148684" y="63122"/>
                    <a:pt x="150246" y="60255"/>
                    <a:pt x="151113" y="57150"/>
                  </a:cubicBezTo>
                  <a:cubicBezTo>
                    <a:pt x="140579" y="65161"/>
                    <a:pt x="126882" y="67742"/>
                    <a:pt x="114156" y="6410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1" name="Google Shape;281;p12"/>
            <p:cNvSpPr/>
            <p:nvPr/>
          </p:nvSpPr>
          <p:spPr>
            <a:xfrm>
              <a:off x="8255166" y="4305930"/>
              <a:ext cx="122882" cy="68953"/>
            </a:xfrm>
            <a:custGeom>
              <a:avLst/>
              <a:gdLst/>
              <a:ahLst/>
              <a:cxnLst/>
              <a:rect l="l" t="t" r="r" b="b"/>
              <a:pathLst>
                <a:path w="153698" h="86245" extrusionOk="0">
                  <a:moveTo>
                    <a:pt x="145884" y="20822"/>
                  </a:moveTo>
                  <a:cubicBezTo>
                    <a:pt x="128082" y="25766"/>
                    <a:pt x="109041" y="23470"/>
                    <a:pt x="92925" y="14441"/>
                  </a:cubicBezTo>
                  <a:cubicBezTo>
                    <a:pt x="80162" y="14441"/>
                    <a:pt x="10820" y="-14896"/>
                    <a:pt x="1390" y="10059"/>
                  </a:cubicBezTo>
                  <a:cubicBezTo>
                    <a:pt x="-6802" y="31871"/>
                    <a:pt x="23202" y="52064"/>
                    <a:pt x="39490" y="55969"/>
                  </a:cubicBezTo>
                  <a:cubicBezTo>
                    <a:pt x="74446" y="64447"/>
                    <a:pt x="100354" y="81877"/>
                    <a:pt x="114452" y="84544"/>
                  </a:cubicBezTo>
                  <a:cubicBezTo>
                    <a:pt x="124929" y="86735"/>
                    <a:pt x="138454" y="88164"/>
                    <a:pt x="146837" y="79973"/>
                  </a:cubicBezTo>
                  <a:cubicBezTo>
                    <a:pt x="156552" y="70352"/>
                    <a:pt x="155695" y="33776"/>
                    <a:pt x="145884" y="20822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2" name="Google Shape;282;p12"/>
            <p:cNvSpPr/>
            <p:nvPr/>
          </p:nvSpPr>
          <p:spPr>
            <a:xfrm>
              <a:off x="8255174" y="4317703"/>
              <a:ext cx="120815" cy="57407"/>
            </a:xfrm>
            <a:custGeom>
              <a:avLst/>
              <a:gdLst/>
              <a:ahLst/>
              <a:cxnLst/>
              <a:rect l="l" t="t" r="r" b="b"/>
              <a:pathLst>
                <a:path w="151113" h="71804" extrusionOk="0">
                  <a:moveTo>
                    <a:pt x="114156" y="64008"/>
                  </a:moveTo>
                  <a:cubicBezTo>
                    <a:pt x="100059" y="61055"/>
                    <a:pt x="74151" y="43624"/>
                    <a:pt x="39195" y="35433"/>
                  </a:cubicBezTo>
                  <a:cubicBezTo>
                    <a:pt x="25764" y="32195"/>
                    <a:pt x="2619" y="17526"/>
                    <a:pt x="237" y="0"/>
                  </a:cubicBezTo>
                  <a:cubicBezTo>
                    <a:pt x="-2811" y="20098"/>
                    <a:pt x="24240" y="38100"/>
                    <a:pt x="39195" y="41529"/>
                  </a:cubicBezTo>
                  <a:cubicBezTo>
                    <a:pt x="74151" y="50006"/>
                    <a:pt x="100059" y="67437"/>
                    <a:pt x="114156" y="70104"/>
                  </a:cubicBezTo>
                  <a:cubicBezTo>
                    <a:pt x="124634" y="72295"/>
                    <a:pt x="138159" y="73723"/>
                    <a:pt x="146541" y="65532"/>
                  </a:cubicBezTo>
                  <a:cubicBezTo>
                    <a:pt x="148684" y="63122"/>
                    <a:pt x="150246" y="60255"/>
                    <a:pt x="151113" y="57150"/>
                  </a:cubicBezTo>
                  <a:cubicBezTo>
                    <a:pt x="140578" y="65170"/>
                    <a:pt x="126862" y="67713"/>
                    <a:pt x="114156" y="64008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3" name="Google Shape;283;p12"/>
            <p:cNvSpPr/>
            <p:nvPr/>
          </p:nvSpPr>
          <p:spPr>
            <a:xfrm>
              <a:off x="8198325" y="3858200"/>
              <a:ext cx="179678" cy="507212"/>
            </a:xfrm>
            <a:custGeom>
              <a:avLst/>
              <a:gdLst/>
              <a:ahLst/>
              <a:cxnLst/>
              <a:rect l="l" t="t" r="r" b="b"/>
              <a:pathLst>
                <a:path w="224738" h="634412" extrusionOk="0">
                  <a:moveTo>
                    <a:pt x="218313" y="392525"/>
                  </a:moveTo>
                  <a:cubicBezTo>
                    <a:pt x="215360" y="366693"/>
                    <a:pt x="210036" y="341186"/>
                    <a:pt x="202406" y="316325"/>
                  </a:cubicBezTo>
                  <a:cubicBezTo>
                    <a:pt x="202406" y="316325"/>
                    <a:pt x="207169" y="250793"/>
                    <a:pt x="209550" y="188690"/>
                  </a:cubicBezTo>
                  <a:cubicBezTo>
                    <a:pt x="212217" y="118205"/>
                    <a:pt x="236696" y="56197"/>
                    <a:pt x="217361" y="0"/>
                  </a:cubicBezTo>
                  <a:lnTo>
                    <a:pt x="0" y="48292"/>
                  </a:lnTo>
                  <a:cubicBezTo>
                    <a:pt x="0" y="48292"/>
                    <a:pt x="13145" y="329279"/>
                    <a:pt x="16002" y="363283"/>
                  </a:cubicBezTo>
                  <a:cubicBezTo>
                    <a:pt x="17536" y="389744"/>
                    <a:pt x="20717" y="416080"/>
                    <a:pt x="25527" y="442150"/>
                  </a:cubicBezTo>
                  <a:cubicBezTo>
                    <a:pt x="35052" y="496729"/>
                    <a:pt x="51530" y="626459"/>
                    <a:pt x="51530" y="626459"/>
                  </a:cubicBezTo>
                  <a:cubicBezTo>
                    <a:pt x="68075" y="634374"/>
                    <a:pt x="86801" y="636461"/>
                    <a:pt x="104680" y="632365"/>
                  </a:cubicBezTo>
                  <a:cubicBezTo>
                    <a:pt x="104680" y="632365"/>
                    <a:pt x="103061" y="468344"/>
                    <a:pt x="101537" y="429006"/>
                  </a:cubicBezTo>
                  <a:cubicBezTo>
                    <a:pt x="99727" y="381381"/>
                    <a:pt x="98298" y="384715"/>
                    <a:pt x="98298" y="384715"/>
                  </a:cubicBezTo>
                  <a:lnTo>
                    <a:pt x="105537" y="265176"/>
                  </a:lnTo>
                  <a:lnTo>
                    <a:pt x="110204" y="205740"/>
                  </a:lnTo>
                  <a:cubicBezTo>
                    <a:pt x="110204" y="205740"/>
                    <a:pt x="116205" y="249364"/>
                    <a:pt x="119729" y="288322"/>
                  </a:cubicBezTo>
                  <a:cubicBezTo>
                    <a:pt x="123158" y="322326"/>
                    <a:pt x="131350" y="353092"/>
                    <a:pt x="140494" y="416338"/>
                  </a:cubicBezTo>
                  <a:cubicBezTo>
                    <a:pt x="148495" y="471202"/>
                    <a:pt x="161354" y="581501"/>
                    <a:pt x="161354" y="581501"/>
                  </a:cubicBezTo>
                  <a:cubicBezTo>
                    <a:pt x="184404" y="594836"/>
                    <a:pt x="215551" y="583787"/>
                    <a:pt x="215551" y="583787"/>
                  </a:cubicBezTo>
                  <a:cubicBezTo>
                    <a:pt x="215551" y="583787"/>
                    <a:pt x="224790" y="440150"/>
                    <a:pt x="218313" y="392525"/>
                  </a:cubicBezTo>
                  <a:close/>
                </a:path>
              </a:pathLst>
            </a:custGeom>
            <a:solidFill>
              <a:srgbClr val="E26161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4" name="Google Shape;284;p12"/>
            <p:cNvSpPr/>
            <p:nvPr/>
          </p:nvSpPr>
          <p:spPr>
            <a:xfrm>
              <a:off x="8224549" y="3442293"/>
              <a:ext cx="130417" cy="208730"/>
            </a:xfrm>
            <a:custGeom>
              <a:avLst/>
              <a:gdLst/>
              <a:ahLst/>
              <a:cxnLst/>
              <a:rect l="l" t="t" r="r" b="b"/>
              <a:pathLst>
                <a:path w="163123" h="261076" extrusionOk="0">
                  <a:moveTo>
                    <a:pt x="153890" y="186263"/>
                  </a:moveTo>
                  <a:cubicBezTo>
                    <a:pt x="137316" y="187120"/>
                    <a:pt x="125315" y="191406"/>
                    <a:pt x="122934" y="186263"/>
                  </a:cubicBezTo>
                  <a:cubicBezTo>
                    <a:pt x="121190" y="177738"/>
                    <a:pt x="119914" y="169117"/>
                    <a:pt x="119124" y="160450"/>
                  </a:cubicBezTo>
                  <a:cubicBezTo>
                    <a:pt x="121028" y="155592"/>
                    <a:pt x="122743" y="150449"/>
                    <a:pt x="122743" y="150449"/>
                  </a:cubicBezTo>
                  <a:cubicBezTo>
                    <a:pt x="143508" y="137685"/>
                    <a:pt x="150080" y="115206"/>
                    <a:pt x="152842" y="89012"/>
                  </a:cubicBezTo>
                  <a:cubicBezTo>
                    <a:pt x="157509" y="44245"/>
                    <a:pt x="133316" y="5097"/>
                    <a:pt x="88548" y="430"/>
                  </a:cubicBezTo>
                  <a:cubicBezTo>
                    <a:pt x="46543" y="-3952"/>
                    <a:pt x="15587" y="25671"/>
                    <a:pt x="7300" y="66248"/>
                  </a:cubicBezTo>
                  <a:cubicBezTo>
                    <a:pt x="2918" y="86250"/>
                    <a:pt x="-5940" y="124064"/>
                    <a:pt x="5967" y="157021"/>
                  </a:cubicBezTo>
                  <a:cubicBezTo>
                    <a:pt x="12729" y="175499"/>
                    <a:pt x="21302" y="190073"/>
                    <a:pt x="29969" y="192930"/>
                  </a:cubicBezTo>
                  <a:cubicBezTo>
                    <a:pt x="38294" y="192740"/>
                    <a:pt x="46600" y="192006"/>
                    <a:pt x="54830" y="190739"/>
                  </a:cubicBezTo>
                  <a:lnTo>
                    <a:pt x="54830" y="190739"/>
                  </a:lnTo>
                  <a:cubicBezTo>
                    <a:pt x="54830" y="190739"/>
                    <a:pt x="57020" y="203122"/>
                    <a:pt x="58544" y="211123"/>
                  </a:cubicBezTo>
                  <a:cubicBezTo>
                    <a:pt x="60068" y="219124"/>
                    <a:pt x="59497" y="223315"/>
                    <a:pt x="43590" y="233030"/>
                  </a:cubicBezTo>
                  <a:cubicBezTo>
                    <a:pt x="27684" y="242746"/>
                    <a:pt x="67593" y="262939"/>
                    <a:pt x="93692" y="260939"/>
                  </a:cubicBezTo>
                  <a:cubicBezTo>
                    <a:pt x="119790" y="258938"/>
                    <a:pt x="149032" y="243222"/>
                    <a:pt x="157128" y="226458"/>
                  </a:cubicBezTo>
                  <a:cubicBezTo>
                    <a:pt x="165986" y="207884"/>
                    <a:pt x="165129" y="185786"/>
                    <a:pt x="153890" y="186263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5" name="Google Shape;285;p12"/>
            <p:cNvSpPr/>
            <p:nvPr/>
          </p:nvSpPr>
          <p:spPr>
            <a:xfrm>
              <a:off x="8197056" y="3589895"/>
              <a:ext cx="200560" cy="332104"/>
            </a:xfrm>
            <a:custGeom>
              <a:avLst/>
              <a:gdLst/>
              <a:ahLst/>
              <a:cxnLst/>
              <a:rect l="l" t="t" r="r" b="b"/>
              <a:pathLst>
                <a:path w="250857" h="415389" extrusionOk="0">
                  <a:moveTo>
                    <a:pt x="164275" y="4121"/>
                  </a:moveTo>
                  <a:cubicBezTo>
                    <a:pt x="168847" y="15551"/>
                    <a:pt x="157131" y="29553"/>
                    <a:pt x="126175" y="39364"/>
                  </a:cubicBezTo>
                  <a:cubicBezTo>
                    <a:pt x="95218" y="49174"/>
                    <a:pt x="92266" y="36506"/>
                    <a:pt x="92266" y="36506"/>
                  </a:cubicBezTo>
                  <a:cubicBezTo>
                    <a:pt x="71558" y="45793"/>
                    <a:pt x="51375" y="56194"/>
                    <a:pt x="31782" y="67653"/>
                  </a:cubicBezTo>
                  <a:cubicBezTo>
                    <a:pt x="12732" y="80702"/>
                    <a:pt x="4921" y="118516"/>
                    <a:pt x="2350" y="181953"/>
                  </a:cubicBezTo>
                  <a:cubicBezTo>
                    <a:pt x="-508" y="255676"/>
                    <a:pt x="-794" y="365119"/>
                    <a:pt x="1683" y="383978"/>
                  </a:cubicBezTo>
                  <a:cubicBezTo>
                    <a:pt x="1683" y="383978"/>
                    <a:pt x="36544" y="418745"/>
                    <a:pt x="81217" y="415125"/>
                  </a:cubicBezTo>
                  <a:cubicBezTo>
                    <a:pt x="125889" y="411506"/>
                    <a:pt x="200946" y="371977"/>
                    <a:pt x="219139" y="341401"/>
                  </a:cubicBezTo>
                  <a:cubicBezTo>
                    <a:pt x="218662" y="276727"/>
                    <a:pt x="211042" y="266249"/>
                    <a:pt x="221520" y="229006"/>
                  </a:cubicBezTo>
                  <a:cubicBezTo>
                    <a:pt x="245523" y="143281"/>
                    <a:pt x="258096" y="108801"/>
                    <a:pt x="246475" y="52127"/>
                  </a:cubicBezTo>
                  <a:cubicBezTo>
                    <a:pt x="236950" y="5359"/>
                    <a:pt x="223425" y="-451"/>
                    <a:pt x="204946" y="25"/>
                  </a:cubicBezTo>
                  <a:cubicBezTo>
                    <a:pt x="191326" y="683"/>
                    <a:pt x="177752" y="2045"/>
                    <a:pt x="164275" y="4121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6" name="Google Shape;286;p12"/>
            <p:cNvSpPr/>
            <p:nvPr/>
          </p:nvSpPr>
          <p:spPr>
            <a:xfrm>
              <a:off x="8000839" y="3631642"/>
              <a:ext cx="254644" cy="198374"/>
            </a:xfrm>
            <a:custGeom>
              <a:avLst/>
              <a:gdLst/>
              <a:ahLst/>
              <a:cxnLst/>
              <a:rect l="l" t="t" r="r" b="b"/>
              <a:pathLst>
                <a:path w="318504" h="248122" extrusionOk="0">
                  <a:moveTo>
                    <a:pt x="177479" y="190982"/>
                  </a:moveTo>
                  <a:cubicBezTo>
                    <a:pt x="214150" y="200507"/>
                    <a:pt x="222723" y="177171"/>
                    <a:pt x="227580" y="158026"/>
                  </a:cubicBezTo>
                  <a:cubicBezTo>
                    <a:pt x="239201" y="111734"/>
                    <a:pt x="245487" y="69920"/>
                    <a:pt x="254155" y="43726"/>
                  </a:cubicBezTo>
                  <a:cubicBezTo>
                    <a:pt x="264442" y="12674"/>
                    <a:pt x="275110" y="7721"/>
                    <a:pt x="290255" y="1721"/>
                  </a:cubicBezTo>
                  <a:cubicBezTo>
                    <a:pt x="307876" y="-5423"/>
                    <a:pt x="323116" y="9531"/>
                    <a:pt x="317210" y="49346"/>
                  </a:cubicBezTo>
                  <a:cubicBezTo>
                    <a:pt x="310010" y="95104"/>
                    <a:pt x="298789" y="140138"/>
                    <a:pt x="283683" y="183934"/>
                  </a:cubicBezTo>
                  <a:cubicBezTo>
                    <a:pt x="279110" y="198412"/>
                    <a:pt x="268919" y="224034"/>
                    <a:pt x="253583" y="236417"/>
                  </a:cubicBezTo>
                  <a:cubicBezTo>
                    <a:pt x="234533" y="251656"/>
                    <a:pt x="205958" y="250990"/>
                    <a:pt x="163096" y="240322"/>
                  </a:cubicBezTo>
                  <a:cubicBezTo>
                    <a:pt x="144808" y="235750"/>
                    <a:pt x="124996" y="224796"/>
                    <a:pt x="89849" y="208604"/>
                  </a:cubicBezTo>
                  <a:cubicBezTo>
                    <a:pt x="80324" y="204222"/>
                    <a:pt x="73275" y="201364"/>
                    <a:pt x="55368" y="192983"/>
                  </a:cubicBezTo>
                  <a:cubicBezTo>
                    <a:pt x="37423" y="184886"/>
                    <a:pt x="21678" y="172599"/>
                    <a:pt x="9458" y="157169"/>
                  </a:cubicBezTo>
                  <a:cubicBezTo>
                    <a:pt x="-67" y="143548"/>
                    <a:pt x="-1115" y="137166"/>
                    <a:pt x="790" y="134118"/>
                  </a:cubicBezTo>
                  <a:cubicBezTo>
                    <a:pt x="2695" y="131070"/>
                    <a:pt x="7458" y="131070"/>
                    <a:pt x="12410" y="136785"/>
                  </a:cubicBezTo>
                  <a:cubicBezTo>
                    <a:pt x="19697" y="146405"/>
                    <a:pt x="28632" y="154664"/>
                    <a:pt x="38795" y="161169"/>
                  </a:cubicBezTo>
                  <a:cubicBezTo>
                    <a:pt x="38795" y="161169"/>
                    <a:pt x="27174" y="149168"/>
                    <a:pt x="20983" y="141452"/>
                  </a:cubicBezTo>
                  <a:cubicBezTo>
                    <a:pt x="15363" y="134547"/>
                    <a:pt x="10686" y="126927"/>
                    <a:pt x="7076" y="118783"/>
                  </a:cubicBezTo>
                  <a:cubicBezTo>
                    <a:pt x="3743" y="110877"/>
                    <a:pt x="10601" y="99733"/>
                    <a:pt x="15744" y="105734"/>
                  </a:cubicBezTo>
                  <a:cubicBezTo>
                    <a:pt x="20888" y="111734"/>
                    <a:pt x="23459" y="117164"/>
                    <a:pt x="32889" y="128498"/>
                  </a:cubicBezTo>
                  <a:cubicBezTo>
                    <a:pt x="37880" y="134547"/>
                    <a:pt x="43567" y="139985"/>
                    <a:pt x="49844" y="144691"/>
                  </a:cubicBezTo>
                  <a:cubicBezTo>
                    <a:pt x="43977" y="136738"/>
                    <a:pt x="38757" y="128327"/>
                    <a:pt x="34223" y="119545"/>
                  </a:cubicBezTo>
                  <a:cubicBezTo>
                    <a:pt x="30213" y="112649"/>
                    <a:pt x="28232" y="104753"/>
                    <a:pt x="28508" y="96780"/>
                  </a:cubicBezTo>
                  <a:cubicBezTo>
                    <a:pt x="28508" y="92684"/>
                    <a:pt x="34699" y="87731"/>
                    <a:pt x="40128" y="95637"/>
                  </a:cubicBezTo>
                  <a:cubicBezTo>
                    <a:pt x="45510" y="106372"/>
                    <a:pt x="52130" y="116440"/>
                    <a:pt x="59845" y="125641"/>
                  </a:cubicBezTo>
                  <a:cubicBezTo>
                    <a:pt x="68227" y="134309"/>
                    <a:pt x="75275" y="139357"/>
                    <a:pt x="75466" y="136880"/>
                  </a:cubicBezTo>
                  <a:cubicBezTo>
                    <a:pt x="75657" y="134404"/>
                    <a:pt x="70418" y="129737"/>
                    <a:pt x="67465" y="119640"/>
                  </a:cubicBezTo>
                  <a:cubicBezTo>
                    <a:pt x="64512" y="109544"/>
                    <a:pt x="67465" y="98876"/>
                    <a:pt x="73085" y="97637"/>
                  </a:cubicBezTo>
                  <a:cubicBezTo>
                    <a:pt x="78705" y="96399"/>
                    <a:pt x="77561" y="96780"/>
                    <a:pt x="82038" y="106305"/>
                  </a:cubicBezTo>
                  <a:cubicBezTo>
                    <a:pt x="88230" y="116002"/>
                    <a:pt x="93792" y="126089"/>
                    <a:pt x="98707" y="136499"/>
                  </a:cubicBezTo>
                  <a:cubicBezTo>
                    <a:pt x="101536" y="146263"/>
                    <a:pt x="106699" y="155187"/>
                    <a:pt x="113757" y="162503"/>
                  </a:cubicBezTo>
                  <a:cubicBezTo>
                    <a:pt x="122805" y="171647"/>
                    <a:pt x="142713" y="182219"/>
                    <a:pt x="177479" y="190982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7" name="Google Shape;287;p12"/>
            <p:cNvSpPr/>
            <p:nvPr/>
          </p:nvSpPr>
          <p:spPr>
            <a:xfrm>
              <a:off x="8187055" y="3627341"/>
              <a:ext cx="77484" cy="113419"/>
            </a:xfrm>
            <a:custGeom>
              <a:avLst/>
              <a:gdLst/>
              <a:ahLst/>
              <a:cxnLst/>
              <a:rect l="l" t="t" r="r" b="b"/>
              <a:pathLst>
                <a:path w="96916" h="141862" extrusionOk="0">
                  <a:moveTo>
                    <a:pt x="70866" y="624"/>
                  </a:moveTo>
                  <a:cubicBezTo>
                    <a:pt x="46387" y="-2900"/>
                    <a:pt x="29146" y="8053"/>
                    <a:pt x="18288" y="45105"/>
                  </a:cubicBezTo>
                  <a:cubicBezTo>
                    <a:pt x="7429" y="82158"/>
                    <a:pt x="0" y="112638"/>
                    <a:pt x="0" y="112638"/>
                  </a:cubicBezTo>
                  <a:cubicBezTo>
                    <a:pt x="9677" y="126611"/>
                    <a:pt x="24336" y="136355"/>
                    <a:pt x="40957" y="139879"/>
                  </a:cubicBezTo>
                  <a:cubicBezTo>
                    <a:pt x="70199" y="146928"/>
                    <a:pt x="80772" y="132926"/>
                    <a:pt x="80772" y="132926"/>
                  </a:cubicBezTo>
                  <a:cubicBezTo>
                    <a:pt x="80772" y="132926"/>
                    <a:pt x="88868" y="94064"/>
                    <a:pt x="93916" y="67680"/>
                  </a:cubicBezTo>
                  <a:cubicBezTo>
                    <a:pt x="98965" y="41295"/>
                    <a:pt x="101155" y="5101"/>
                    <a:pt x="70866" y="624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8" name="Google Shape;288;p12"/>
            <p:cNvSpPr/>
            <p:nvPr/>
          </p:nvSpPr>
          <p:spPr>
            <a:xfrm>
              <a:off x="8224358" y="3433131"/>
              <a:ext cx="126435" cy="139356"/>
            </a:xfrm>
            <a:custGeom>
              <a:avLst/>
              <a:gdLst/>
              <a:ahLst/>
              <a:cxnLst/>
              <a:rect l="l" t="t" r="r" b="b"/>
              <a:pathLst>
                <a:path w="158142" h="174304" extrusionOk="0">
                  <a:moveTo>
                    <a:pt x="8872" y="71897"/>
                  </a:moveTo>
                  <a:cubicBezTo>
                    <a:pt x="8872" y="71897"/>
                    <a:pt x="-29704" y="13223"/>
                    <a:pt x="54021" y="1221"/>
                  </a:cubicBezTo>
                  <a:cubicBezTo>
                    <a:pt x="114409" y="-7446"/>
                    <a:pt x="153176" y="31416"/>
                    <a:pt x="157653" y="73516"/>
                  </a:cubicBezTo>
                  <a:cubicBezTo>
                    <a:pt x="161939" y="113712"/>
                    <a:pt x="137174" y="155527"/>
                    <a:pt x="119553" y="172100"/>
                  </a:cubicBezTo>
                  <a:cubicBezTo>
                    <a:pt x="101960" y="176519"/>
                    <a:pt x="83358" y="174243"/>
                    <a:pt x="67356" y="165718"/>
                  </a:cubicBezTo>
                  <a:cubicBezTo>
                    <a:pt x="66403" y="154793"/>
                    <a:pt x="66022" y="143820"/>
                    <a:pt x="66213" y="132857"/>
                  </a:cubicBezTo>
                  <a:cubicBezTo>
                    <a:pt x="66213" y="132857"/>
                    <a:pt x="95359" y="70849"/>
                    <a:pt x="8872" y="71897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289" name="Google Shape;289;p12"/>
            <p:cNvGrpSpPr/>
            <p:nvPr/>
          </p:nvGrpSpPr>
          <p:grpSpPr>
            <a:xfrm>
              <a:off x="6544681" y="927100"/>
              <a:ext cx="264550" cy="200503"/>
              <a:chOff x="6621095" y="1452181"/>
              <a:chExt cx="330894" cy="250785"/>
            </a:xfrm>
          </p:grpSpPr>
          <p:sp>
            <p:nvSpPr>
              <p:cNvPr id="290" name="Google Shape;290;p12"/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1" name="Google Shape;291;p12"/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2" name="Google Shape;292;p12"/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3" name="Google Shape;293;p12"/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4" name="Google Shape;294;p12"/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295" name="Google Shape;295;p12"/>
            <p:cNvGrpSpPr/>
            <p:nvPr/>
          </p:nvGrpSpPr>
          <p:grpSpPr>
            <a:xfrm>
              <a:off x="7210360" y="1314224"/>
              <a:ext cx="264550" cy="200503"/>
              <a:chOff x="6621095" y="1452181"/>
              <a:chExt cx="330894" cy="250785"/>
            </a:xfrm>
          </p:grpSpPr>
          <p:sp>
            <p:nvSpPr>
              <p:cNvPr id="296" name="Google Shape;296;p12"/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7" name="Google Shape;297;p12"/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8" name="Google Shape;298;p12"/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9" name="Google Shape;299;p12"/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0" name="Google Shape;300;p12"/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301" name="Google Shape;301;p12"/>
            <p:cNvSpPr/>
            <p:nvPr/>
          </p:nvSpPr>
          <p:spPr>
            <a:xfrm>
              <a:off x="7451033" y="1163186"/>
              <a:ext cx="126280" cy="353110"/>
            </a:xfrm>
            <a:custGeom>
              <a:avLst/>
              <a:gdLst/>
              <a:ahLst/>
              <a:cxnLst/>
              <a:rect l="l" t="t" r="r" b="b"/>
              <a:pathLst>
                <a:path w="157949" h="441664" extrusionOk="0">
                  <a:moveTo>
                    <a:pt x="12203" y="371070"/>
                  </a:moveTo>
                  <a:cubicBezTo>
                    <a:pt x="20680" y="365574"/>
                    <a:pt x="29462" y="360555"/>
                    <a:pt x="38492" y="356021"/>
                  </a:cubicBezTo>
                  <a:cubicBezTo>
                    <a:pt x="46960" y="353439"/>
                    <a:pt x="54656" y="348791"/>
                    <a:pt x="60876" y="342495"/>
                  </a:cubicBezTo>
                  <a:cubicBezTo>
                    <a:pt x="69162" y="334399"/>
                    <a:pt x="82593" y="304395"/>
                    <a:pt x="92118" y="274391"/>
                  </a:cubicBezTo>
                  <a:cubicBezTo>
                    <a:pt x="101785" y="240846"/>
                    <a:pt x="105624" y="205889"/>
                    <a:pt x="103452" y="171045"/>
                  </a:cubicBezTo>
                  <a:cubicBezTo>
                    <a:pt x="99357" y="129516"/>
                    <a:pt x="84402" y="71318"/>
                    <a:pt x="80593" y="47220"/>
                  </a:cubicBezTo>
                  <a:cubicBezTo>
                    <a:pt x="76782" y="23122"/>
                    <a:pt x="84498" y="13692"/>
                    <a:pt x="95642" y="4929"/>
                  </a:cubicBezTo>
                  <a:cubicBezTo>
                    <a:pt x="108691" y="-5453"/>
                    <a:pt x="126789" y="-881"/>
                    <a:pt x="136409" y="32647"/>
                  </a:cubicBezTo>
                  <a:cubicBezTo>
                    <a:pt x="148810" y="79078"/>
                    <a:pt x="156030" y="126740"/>
                    <a:pt x="157935" y="174760"/>
                  </a:cubicBezTo>
                  <a:cubicBezTo>
                    <a:pt x="158269" y="210341"/>
                    <a:pt x="152773" y="245736"/>
                    <a:pt x="141648" y="279535"/>
                  </a:cubicBezTo>
                  <a:cubicBezTo>
                    <a:pt x="131656" y="308501"/>
                    <a:pt x="118226" y="336161"/>
                    <a:pt x="101643" y="361926"/>
                  </a:cubicBezTo>
                  <a:cubicBezTo>
                    <a:pt x="97071" y="369737"/>
                    <a:pt x="95547" y="376595"/>
                    <a:pt x="88498" y="392406"/>
                  </a:cubicBezTo>
                  <a:cubicBezTo>
                    <a:pt x="81745" y="408237"/>
                    <a:pt x="71258" y="422191"/>
                    <a:pt x="57923" y="433078"/>
                  </a:cubicBezTo>
                  <a:cubicBezTo>
                    <a:pt x="46112" y="441555"/>
                    <a:pt x="40587" y="442603"/>
                    <a:pt x="37825" y="441079"/>
                  </a:cubicBezTo>
                  <a:cubicBezTo>
                    <a:pt x="35063" y="439555"/>
                    <a:pt x="35063" y="435364"/>
                    <a:pt x="40016" y="430887"/>
                  </a:cubicBezTo>
                  <a:cubicBezTo>
                    <a:pt x="48341" y="424391"/>
                    <a:pt x="55437" y="416457"/>
                    <a:pt x="60971" y="407456"/>
                  </a:cubicBezTo>
                  <a:cubicBezTo>
                    <a:pt x="60971" y="407456"/>
                    <a:pt x="50684" y="417743"/>
                    <a:pt x="44017" y="423362"/>
                  </a:cubicBezTo>
                  <a:cubicBezTo>
                    <a:pt x="38044" y="428354"/>
                    <a:pt x="31443" y="432545"/>
                    <a:pt x="24395" y="435840"/>
                  </a:cubicBezTo>
                  <a:cubicBezTo>
                    <a:pt x="17537" y="438888"/>
                    <a:pt x="8012" y="433078"/>
                    <a:pt x="12870" y="428411"/>
                  </a:cubicBezTo>
                  <a:cubicBezTo>
                    <a:pt x="17727" y="423743"/>
                    <a:pt x="22395" y="421553"/>
                    <a:pt x="32491" y="413076"/>
                  </a:cubicBezTo>
                  <a:cubicBezTo>
                    <a:pt x="37701" y="408580"/>
                    <a:pt x="42369" y="403503"/>
                    <a:pt x="46398" y="397931"/>
                  </a:cubicBezTo>
                  <a:cubicBezTo>
                    <a:pt x="39521" y="403208"/>
                    <a:pt x="32225" y="407922"/>
                    <a:pt x="24585" y="412028"/>
                  </a:cubicBezTo>
                  <a:cubicBezTo>
                    <a:pt x="18632" y="415685"/>
                    <a:pt x="11755" y="417533"/>
                    <a:pt x="4773" y="417362"/>
                  </a:cubicBezTo>
                  <a:cubicBezTo>
                    <a:pt x="1154" y="417362"/>
                    <a:pt x="-3228" y="412218"/>
                    <a:pt x="3535" y="407265"/>
                  </a:cubicBezTo>
                  <a:cubicBezTo>
                    <a:pt x="12879" y="402417"/>
                    <a:pt x="21604" y="396473"/>
                    <a:pt x="29538" y="389549"/>
                  </a:cubicBezTo>
                  <a:cubicBezTo>
                    <a:pt x="37063" y="382119"/>
                    <a:pt x="41254" y="375833"/>
                    <a:pt x="39063" y="375642"/>
                  </a:cubicBezTo>
                  <a:cubicBezTo>
                    <a:pt x="36873" y="375452"/>
                    <a:pt x="32872" y="380214"/>
                    <a:pt x="24109" y="382976"/>
                  </a:cubicBezTo>
                  <a:cubicBezTo>
                    <a:pt x="15346" y="385739"/>
                    <a:pt x="5917" y="382976"/>
                    <a:pt x="5059" y="378404"/>
                  </a:cubicBezTo>
                  <a:cubicBezTo>
                    <a:pt x="4202" y="373832"/>
                    <a:pt x="4011" y="375261"/>
                    <a:pt x="12203" y="37107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2" name="Google Shape;302;p12"/>
            <p:cNvSpPr/>
            <p:nvPr/>
          </p:nvSpPr>
          <p:spPr>
            <a:xfrm>
              <a:off x="7509451" y="1160411"/>
              <a:ext cx="72725" cy="98625"/>
            </a:xfrm>
            <a:custGeom>
              <a:avLst/>
              <a:gdLst/>
              <a:ahLst/>
              <a:cxnLst/>
              <a:rect l="l" t="t" r="r" b="b"/>
              <a:pathLst>
                <a:path w="90963" h="123358" extrusionOk="0">
                  <a:moveTo>
                    <a:pt x="90964" y="98317"/>
                  </a:moveTo>
                  <a:cubicBezTo>
                    <a:pt x="90964" y="98317"/>
                    <a:pt x="58007" y="131083"/>
                    <a:pt x="19050" y="121653"/>
                  </a:cubicBezTo>
                  <a:cubicBezTo>
                    <a:pt x="13525" y="117843"/>
                    <a:pt x="0" y="41358"/>
                    <a:pt x="0" y="41358"/>
                  </a:cubicBezTo>
                  <a:cubicBezTo>
                    <a:pt x="0" y="41358"/>
                    <a:pt x="0" y="-1029"/>
                    <a:pt x="32480" y="19"/>
                  </a:cubicBezTo>
                  <a:cubicBezTo>
                    <a:pt x="64961" y="1067"/>
                    <a:pt x="90964" y="98317"/>
                    <a:pt x="90964" y="9831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defTabSz="1219170"/>
              <a:endParaRPr sz="2400"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303" name="Google Shape;303;p12"/>
            <p:cNvGrpSpPr/>
            <p:nvPr/>
          </p:nvGrpSpPr>
          <p:grpSpPr>
            <a:xfrm flipH="1">
              <a:off x="8183210" y="2407472"/>
              <a:ext cx="780360" cy="1195999"/>
              <a:chOff x="3975528" y="3303922"/>
              <a:chExt cx="780360" cy="1195999"/>
            </a:xfrm>
          </p:grpSpPr>
          <p:sp>
            <p:nvSpPr>
              <p:cNvPr id="304" name="Google Shape;304;p12"/>
              <p:cNvSpPr/>
              <p:nvPr/>
            </p:nvSpPr>
            <p:spPr>
              <a:xfrm>
                <a:off x="4158598" y="4226660"/>
                <a:ext cx="285978" cy="165125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406" extrusionOk="0">
                    <a:moveTo>
                      <a:pt x="178689" y="206407"/>
                    </a:moveTo>
                    <a:lnTo>
                      <a:pt x="0" y="103251"/>
                    </a:lnTo>
                    <a:lnTo>
                      <a:pt x="178689" y="0"/>
                    </a:lnTo>
                    <a:lnTo>
                      <a:pt x="357473" y="103251"/>
                    </a:lnTo>
                    <a:lnTo>
                      <a:pt x="178689" y="206407"/>
                    </a:ln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5" name="Google Shape;305;p12"/>
              <p:cNvSpPr/>
              <p:nvPr/>
            </p:nvSpPr>
            <p:spPr>
              <a:xfrm>
                <a:off x="4385076" y="4094459"/>
                <a:ext cx="285978" cy="165125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406" extrusionOk="0">
                    <a:moveTo>
                      <a:pt x="178784" y="206407"/>
                    </a:moveTo>
                    <a:lnTo>
                      <a:pt x="0" y="103251"/>
                    </a:lnTo>
                    <a:lnTo>
                      <a:pt x="178784" y="0"/>
                    </a:lnTo>
                    <a:lnTo>
                      <a:pt x="357473" y="103251"/>
                    </a:lnTo>
                    <a:lnTo>
                      <a:pt x="178784" y="206407"/>
                    </a:ln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6" name="Google Shape;306;p12"/>
              <p:cNvSpPr/>
              <p:nvPr/>
            </p:nvSpPr>
            <p:spPr>
              <a:xfrm>
                <a:off x="4469909" y="3303922"/>
                <a:ext cx="285978" cy="165049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311" extrusionOk="0">
                    <a:moveTo>
                      <a:pt x="178784" y="206312"/>
                    </a:moveTo>
                    <a:lnTo>
                      <a:pt x="0" y="103156"/>
                    </a:lnTo>
                    <a:lnTo>
                      <a:pt x="178784" y="0"/>
                    </a:lnTo>
                    <a:lnTo>
                      <a:pt x="357473" y="103156"/>
                    </a:lnTo>
                    <a:lnTo>
                      <a:pt x="178784" y="206312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7" name="Google Shape;307;p12"/>
              <p:cNvSpPr/>
              <p:nvPr/>
            </p:nvSpPr>
            <p:spPr>
              <a:xfrm>
                <a:off x="4469909" y="3386395"/>
                <a:ext cx="143027" cy="825855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1032319" extrusionOk="0">
                    <a:moveTo>
                      <a:pt x="178784" y="1032320"/>
                    </a:moveTo>
                    <a:lnTo>
                      <a:pt x="0" y="929068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103232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8" name="Google Shape;308;p12"/>
              <p:cNvSpPr/>
              <p:nvPr/>
            </p:nvSpPr>
            <p:spPr>
              <a:xfrm>
                <a:off x="4469909" y="3386395"/>
                <a:ext cx="143027" cy="825855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1032319" extrusionOk="0">
                    <a:moveTo>
                      <a:pt x="178784" y="1032320"/>
                    </a:moveTo>
                    <a:lnTo>
                      <a:pt x="0" y="929068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1032320"/>
                    </a:lnTo>
                    <a:close/>
                  </a:path>
                </a:pathLst>
              </a:custGeom>
              <a:solidFill>
                <a:srgbClr val="000000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9" name="Google Shape;309;p12"/>
              <p:cNvSpPr/>
              <p:nvPr/>
            </p:nvSpPr>
            <p:spPr>
              <a:xfrm>
                <a:off x="4612847" y="3386395"/>
                <a:ext cx="142951" cy="825855"/>
              </a:xfrm>
              <a:custGeom>
                <a:avLst/>
                <a:gdLst/>
                <a:ahLst/>
                <a:cxnLst/>
                <a:rect l="l" t="t" r="r" b="b"/>
                <a:pathLst>
                  <a:path w="178689" h="1032319" extrusionOk="0">
                    <a:moveTo>
                      <a:pt x="178689" y="929068"/>
                    </a:moveTo>
                    <a:lnTo>
                      <a:pt x="0" y="1032320"/>
                    </a:lnTo>
                    <a:lnTo>
                      <a:pt x="0" y="103251"/>
                    </a:lnTo>
                    <a:lnTo>
                      <a:pt x="178689" y="0"/>
                    </a:lnTo>
                    <a:lnTo>
                      <a:pt x="178689" y="929068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0" name="Google Shape;310;p12"/>
              <p:cNvSpPr/>
              <p:nvPr/>
            </p:nvSpPr>
            <p:spPr>
              <a:xfrm>
                <a:off x="4255541" y="3675088"/>
                <a:ext cx="285978" cy="165201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501" extrusionOk="0">
                    <a:moveTo>
                      <a:pt x="178784" y="206502"/>
                    </a:moveTo>
                    <a:lnTo>
                      <a:pt x="0" y="103251"/>
                    </a:lnTo>
                    <a:lnTo>
                      <a:pt x="178784" y="0"/>
                    </a:lnTo>
                    <a:lnTo>
                      <a:pt x="357473" y="103251"/>
                    </a:lnTo>
                    <a:lnTo>
                      <a:pt x="178784" y="206502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1" name="Google Shape;311;p12"/>
              <p:cNvSpPr/>
              <p:nvPr/>
            </p:nvSpPr>
            <p:spPr>
              <a:xfrm>
                <a:off x="4255541" y="3757637"/>
                <a:ext cx="143027" cy="577519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721899" extrusionOk="0">
                    <a:moveTo>
                      <a:pt x="178784" y="721900"/>
                    </a:moveTo>
                    <a:lnTo>
                      <a:pt x="0" y="618744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72190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2" name="Google Shape;312;p12"/>
              <p:cNvSpPr/>
              <p:nvPr/>
            </p:nvSpPr>
            <p:spPr>
              <a:xfrm>
                <a:off x="4255541" y="3757637"/>
                <a:ext cx="143027" cy="577519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721899" extrusionOk="0">
                    <a:moveTo>
                      <a:pt x="178784" y="721900"/>
                    </a:moveTo>
                    <a:lnTo>
                      <a:pt x="0" y="618744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721900"/>
                    </a:lnTo>
                    <a:close/>
                  </a:path>
                </a:pathLst>
              </a:custGeom>
              <a:solidFill>
                <a:srgbClr val="000000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3" name="Google Shape;313;p12"/>
              <p:cNvSpPr/>
              <p:nvPr/>
            </p:nvSpPr>
            <p:spPr>
              <a:xfrm>
                <a:off x="4398478" y="3757637"/>
                <a:ext cx="142950" cy="577519"/>
              </a:xfrm>
              <a:custGeom>
                <a:avLst/>
                <a:gdLst/>
                <a:ahLst/>
                <a:cxnLst/>
                <a:rect l="l" t="t" r="r" b="b"/>
                <a:pathLst>
                  <a:path w="178688" h="721899" extrusionOk="0">
                    <a:moveTo>
                      <a:pt x="178689" y="618744"/>
                    </a:moveTo>
                    <a:lnTo>
                      <a:pt x="0" y="721900"/>
                    </a:lnTo>
                    <a:lnTo>
                      <a:pt x="0" y="103251"/>
                    </a:lnTo>
                    <a:lnTo>
                      <a:pt x="178689" y="0"/>
                    </a:lnTo>
                    <a:lnTo>
                      <a:pt x="178689" y="618744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4" name="Google Shape;314;p12"/>
              <p:cNvSpPr/>
              <p:nvPr/>
            </p:nvSpPr>
            <p:spPr>
              <a:xfrm>
                <a:off x="3975528" y="4334796"/>
                <a:ext cx="285978" cy="165125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406" extrusionOk="0">
                    <a:moveTo>
                      <a:pt x="178784" y="206407"/>
                    </a:moveTo>
                    <a:lnTo>
                      <a:pt x="0" y="103251"/>
                    </a:lnTo>
                    <a:lnTo>
                      <a:pt x="178784" y="0"/>
                    </a:lnTo>
                    <a:lnTo>
                      <a:pt x="357473" y="103251"/>
                    </a:lnTo>
                    <a:lnTo>
                      <a:pt x="178784" y="206407"/>
                    </a:ln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5" name="Google Shape;315;p12"/>
              <p:cNvSpPr/>
              <p:nvPr/>
            </p:nvSpPr>
            <p:spPr>
              <a:xfrm>
                <a:off x="4027311" y="4067196"/>
                <a:ext cx="285978" cy="165125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406" extrusionOk="0">
                    <a:moveTo>
                      <a:pt x="178784" y="206407"/>
                    </a:moveTo>
                    <a:lnTo>
                      <a:pt x="0" y="103156"/>
                    </a:lnTo>
                    <a:lnTo>
                      <a:pt x="178689" y="0"/>
                    </a:lnTo>
                    <a:lnTo>
                      <a:pt x="357473" y="103156"/>
                    </a:lnTo>
                    <a:lnTo>
                      <a:pt x="178784" y="206407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6" name="Google Shape;316;p12"/>
              <p:cNvSpPr/>
              <p:nvPr/>
            </p:nvSpPr>
            <p:spPr>
              <a:xfrm>
                <a:off x="4027311" y="4149670"/>
                <a:ext cx="143027" cy="319278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399097" extrusionOk="0">
                    <a:moveTo>
                      <a:pt x="178784" y="399098"/>
                    </a:moveTo>
                    <a:lnTo>
                      <a:pt x="0" y="295846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399098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7" name="Google Shape;317;p12"/>
              <p:cNvSpPr/>
              <p:nvPr/>
            </p:nvSpPr>
            <p:spPr>
              <a:xfrm>
                <a:off x="4027311" y="4149670"/>
                <a:ext cx="143027" cy="319278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399097" extrusionOk="0">
                    <a:moveTo>
                      <a:pt x="178784" y="399098"/>
                    </a:moveTo>
                    <a:lnTo>
                      <a:pt x="0" y="295846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399098"/>
                    </a:lnTo>
                    <a:close/>
                  </a:path>
                </a:pathLst>
              </a:custGeom>
              <a:solidFill>
                <a:srgbClr val="000000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8" name="Google Shape;318;p12"/>
              <p:cNvSpPr/>
              <p:nvPr/>
            </p:nvSpPr>
            <p:spPr>
              <a:xfrm>
                <a:off x="4170249" y="4149670"/>
                <a:ext cx="142951" cy="319278"/>
              </a:xfrm>
              <a:custGeom>
                <a:avLst/>
                <a:gdLst/>
                <a:ahLst/>
                <a:cxnLst/>
                <a:rect l="l" t="t" r="r" b="b"/>
                <a:pathLst>
                  <a:path w="178689" h="399097" extrusionOk="0">
                    <a:moveTo>
                      <a:pt x="178689" y="295846"/>
                    </a:moveTo>
                    <a:lnTo>
                      <a:pt x="0" y="399098"/>
                    </a:lnTo>
                    <a:lnTo>
                      <a:pt x="0" y="103251"/>
                    </a:lnTo>
                    <a:lnTo>
                      <a:pt x="178689" y="0"/>
                    </a:lnTo>
                    <a:lnTo>
                      <a:pt x="178689" y="295846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9" name="Google Shape;319;p12"/>
              <p:cNvSpPr/>
              <p:nvPr/>
            </p:nvSpPr>
            <p:spPr>
              <a:xfrm>
                <a:off x="4359514" y="3443605"/>
                <a:ext cx="123401" cy="242674"/>
              </a:xfrm>
              <a:custGeom>
                <a:avLst/>
                <a:gdLst/>
                <a:ahLst/>
                <a:cxnLst/>
                <a:rect l="l" t="t" r="r" b="b"/>
                <a:pathLst>
                  <a:path w="154251" h="303342" extrusionOk="0">
                    <a:moveTo>
                      <a:pt x="65595" y="234575"/>
                    </a:moveTo>
                    <a:cubicBezTo>
                      <a:pt x="79310" y="258921"/>
                      <a:pt x="95907" y="281534"/>
                      <a:pt x="115030" y="301917"/>
                    </a:cubicBezTo>
                    <a:cubicBezTo>
                      <a:pt x="120364" y="308108"/>
                      <a:pt x="161512" y="292392"/>
                      <a:pt x="153130" y="288010"/>
                    </a:cubicBezTo>
                    <a:cubicBezTo>
                      <a:pt x="144747" y="283629"/>
                      <a:pt x="117601" y="246005"/>
                      <a:pt x="104171" y="221335"/>
                    </a:cubicBezTo>
                    <a:cubicBezTo>
                      <a:pt x="92896" y="191398"/>
                      <a:pt x="83356" y="160833"/>
                      <a:pt x="75596" y="129800"/>
                    </a:cubicBezTo>
                    <a:cubicBezTo>
                      <a:pt x="67119" y="99225"/>
                      <a:pt x="59880" y="54267"/>
                      <a:pt x="53689" y="33121"/>
                    </a:cubicBezTo>
                    <a:cubicBezTo>
                      <a:pt x="50377" y="17186"/>
                      <a:pt x="38044" y="4670"/>
                      <a:pt x="22161" y="1117"/>
                    </a:cubicBezTo>
                    <a:cubicBezTo>
                      <a:pt x="7397" y="-2312"/>
                      <a:pt x="-2223" y="1689"/>
                      <a:pt x="444" y="19596"/>
                    </a:cubicBezTo>
                    <a:cubicBezTo>
                      <a:pt x="4730" y="50743"/>
                      <a:pt x="29305" y="172853"/>
                      <a:pt x="65595" y="234575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0" name="Google Shape;320;p12"/>
              <p:cNvSpPr/>
              <p:nvPr/>
            </p:nvSpPr>
            <p:spPr>
              <a:xfrm>
                <a:off x="4386191" y="4013507"/>
                <a:ext cx="85270" cy="65855"/>
              </a:xfrm>
              <a:custGeom>
                <a:avLst/>
                <a:gdLst/>
                <a:ahLst/>
                <a:cxnLst/>
                <a:rect l="l" t="t" r="r" b="b"/>
                <a:pathLst>
                  <a:path w="106588" h="82319" extrusionOk="0">
                    <a:moveTo>
                      <a:pt x="8606" y="2"/>
                    </a:moveTo>
                    <a:cubicBezTo>
                      <a:pt x="21369" y="10385"/>
                      <a:pt x="40229" y="860"/>
                      <a:pt x="41181" y="1812"/>
                    </a:cubicBezTo>
                    <a:cubicBezTo>
                      <a:pt x="56119" y="15766"/>
                      <a:pt x="71828" y="28863"/>
                      <a:pt x="88235" y="41055"/>
                    </a:cubicBezTo>
                    <a:cubicBezTo>
                      <a:pt x="96141" y="47246"/>
                      <a:pt x="108523" y="55628"/>
                      <a:pt x="106332" y="67630"/>
                    </a:cubicBezTo>
                    <a:cubicBezTo>
                      <a:pt x="102332" y="89156"/>
                      <a:pt x="68232" y="82489"/>
                      <a:pt x="54897" y="75917"/>
                    </a:cubicBezTo>
                    <a:cubicBezTo>
                      <a:pt x="41562" y="69344"/>
                      <a:pt x="31371" y="58486"/>
                      <a:pt x="19083" y="50866"/>
                    </a:cubicBezTo>
                    <a:cubicBezTo>
                      <a:pt x="10320" y="45437"/>
                      <a:pt x="1653" y="42579"/>
                      <a:pt x="33" y="31816"/>
                    </a:cubicBezTo>
                    <a:cubicBezTo>
                      <a:pt x="-538" y="25244"/>
                      <a:pt x="6415" y="-283"/>
                      <a:pt x="8606" y="2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1" name="Google Shape;321;p12"/>
              <p:cNvSpPr/>
              <p:nvPr/>
            </p:nvSpPr>
            <p:spPr>
              <a:xfrm>
                <a:off x="4386358" y="4035136"/>
                <a:ext cx="84898" cy="44294"/>
              </a:xfrm>
              <a:custGeom>
                <a:avLst/>
                <a:gdLst/>
                <a:ahLst/>
                <a:cxnLst/>
                <a:rect l="l" t="t" r="r" b="b"/>
                <a:pathLst>
                  <a:path w="106123" h="55368" extrusionOk="0">
                    <a:moveTo>
                      <a:pt x="301" y="0"/>
                    </a:moveTo>
                    <a:cubicBezTo>
                      <a:pt x="1920" y="10668"/>
                      <a:pt x="10492" y="13525"/>
                      <a:pt x="19351" y="19050"/>
                    </a:cubicBezTo>
                    <a:cubicBezTo>
                      <a:pt x="31828" y="26765"/>
                      <a:pt x="42782" y="38100"/>
                      <a:pt x="55831" y="44577"/>
                    </a:cubicBezTo>
                    <a:cubicBezTo>
                      <a:pt x="68881" y="51054"/>
                      <a:pt x="97646" y="56674"/>
                      <a:pt x="106123" y="41338"/>
                    </a:cubicBezTo>
                    <a:cubicBezTo>
                      <a:pt x="101551" y="62008"/>
                      <a:pt x="68023" y="55531"/>
                      <a:pt x="54879" y="48958"/>
                    </a:cubicBezTo>
                    <a:cubicBezTo>
                      <a:pt x="41734" y="42386"/>
                      <a:pt x="31352" y="31528"/>
                      <a:pt x="19065" y="23908"/>
                    </a:cubicBezTo>
                    <a:cubicBezTo>
                      <a:pt x="10302" y="18479"/>
                      <a:pt x="1634" y="15621"/>
                      <a:pt x="15" y="4858"/>
                    </a:cubicBezTo>
                    <a:cubicBezTo>
                      <a:pt x="-40" y="3229"/>
                      <a:pt x="56" y="1610"/>
                      <a:pt x="301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2" name="Google Shape;322;p12"/>
              <p:cNvSpPr/>
              <p:nvPr/>
            </p:nvSpPr>
            <p:spPr>
              <a:xfrm>
                <a:off x="4488338" y="3953912"/>
                <a:ext cx="85261" cy="63613"/>
              </a:xfrm>
              <a:custGeom>
                <a:avLst/>
                <a:gdLst/>
                <a:ahLst/>
                <a:cxnLst/>
                <a:rect l="l" t="t" r="r" b="b"/>
                <a:pathLst>
                  <a:path w="106576" h="79516" extrusionOk="0">
                    <a:moveTo>
                      <a:pt x="10192" y="58"/>
                    </a:moveTo>
                    <a:cubicBezTo>
                      <a:pt x="22955" y="10440"/>
                      <a:pt x="45244" y="-895"/>
                      <a:pt x="46196" y="58"/>
                    </a:cubicBezTo>
                    <a:cubicBezTo>
                      <a:pt x="59433" y="13574"/>
                      <a:pt x="73460" y="26299"/>
                      <a:pt x="88202" y="38158"/>
                    </a:cubicBezTo>
                    <a:cubicBezTo>
                      <a:pt x="96202" y="44444"/>
                      <a:pt x="108585" y="52826"/>
                      <a:pt x="106299" y="64828"/>
                    </a:cubicBezTo>
                    <a:cubicBezTo>
                      <a:pt x="102298" y="86354"/>
                      <a:pt x="68199" y="79687"/>
                      <a:pt x="54959" y="73114"/>
                    </a:cubicBezTo>
                    <a:cubicBezTo>
                      <a:pt x="41719" y="66542"/>
                      <a:pt x="31337" y="55684"/>
                      <a:pt x="19050" y="48064"/>
                    </a:cubicBezTo>
                    <a:cubicBezTo>
                      <a:pt x="10287" y="42634"/>
                      <a:pt x="1715" y="39777"/>
                      <a:pt x="0" y="29014"/>
                    </a:cubicBezTo>
                    <a:cubicBezTo>
                      <a:pt x="721" y="18622"/>
                      <a:pt x="4243" y="8611"/>
                      <a:pt x="10192" y="58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3" name="Google Shape;323;p12"/>
              <p:cNvSpPr/>
              <p:nvPr/>
            </p:nvSpPr>
            <p:spPr>
              <a:xfrm>
                <a:off x="4488682" y="3974367"/>
                <a:ext cx="84923" cy="44256"/>
              </a:xfrm>
              <a:custGeom>
                <a:avLst/>
                <a:gdLst/>
                <a:ahLst/>
                <a:cxnLst/>
                <a:rect l="l" t="t" r="r" b="b"/>
                <a:pathLst>
                  <a:path w="106154" h="55320" extrusionOk="0">
                    <a:moveTo>
                      <a:pt x="331" y="0"/>
                    </a:moveTo>
                    <a:cubicBezTo>
                      <a:pt x="1951" y="10573"/>
                      <a:pt x="10523" y="13525"/>
                      <a:pt x="19381" y="19050"/>
                    </a:cubicBezTo>
                    <a:cubicBezTo>
                      <a:pt x="31859" y="26765"/>
                      <a:pt x="42813" y="38100"/>
                      <a:pt x="55767" y="44482"/>
                    </a:cubicBezTo>
                    <a:cubicBezTo>
                      <a:pt x="68721" y="50863"/>
                      <a:pt x="97677" y="56578"/>
                      <a:pt x="106154" y="41243"/>
                    </a:cubicBezTo>
                    <a:cubicBezTo>
                      <a:pt x="101582" y="62008"/>
                      <a:pt x="68054" y="55435"/>
                      <a:pt x="54910" y="48958"/>
                    </a:cubicBezTo>
                    <a:cubicBezTo>
                      <a:pt x="41765" y="42481"/>
                      <a:pt x="31383" y="31528"/>
                      <a:pt x="19096" y="23908"/>
                    </a:cubicBezTo>
                    <a:cubicBezTo>
                      <a:pt x="10333" y="18478"/>
                      <a:pt x="1665" y="15621"/>
                      <a:pt x="46" y="4858"/>
                    </a:cubicBezTo>
                    <a:cubicBezTo>
                      <a:pt x="-67" y="3229"/>
                      <a:pt x="28" y="1600"/>
                      <a:pt x="331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4" name="Google Shape;324;p12"/>
              <p:cNvSpPr/>
              <p:nvPr/>
            </p:nvSpPr>
            <p:spPr>
              <a:xfrm>
                <a:off x="4254514" y="3662153"/>
                <a:ext cx="298029" cy="360530"/>
              </a:xfrm>
              <a:custGeom>
                <a:avLst/>
                <a:gdLst/>
                <a:ahLst/>
                <a:cxnLst/>
                <a:rect l="l" t="t" r="r" b="b"/>
                <a:pathLst>
                  <a:path w="372536" h="450662" extrusionOk="0">
                    <a:moveTo>
                      <a:pt x="2903" y="30848"/>
                    </a:moveTo>
                    <a:cubicBezTo>
                      <a:pt x="-11194" y="119145"/>
                      <a:pt x="27954" y="152006"/>
                      <a:pt x="79103" y="170865"/>
                    </a:cubicBezTo>
                    <a:cubicBezTo>
                      <a:pt x="115679" y="184296"/>
                      <a:pt x="168162" y="205060"/>
                      <a:pt x="168162" y="205060"/>
                    </a:cubicBezTo>
                    <a:cubicBezTo>
                      <a:pt x="168162" y="205060"/>
                      <a:pt x="167400" y="224110"/>
                      <a:pt x="167019" y="267925"/>
                    </a:cubicBezTo>
                    <a:cubicBezTo>
                      <a:pt x="167019" y="306025"/>
                      <a:pt x="171686" y="445947"/>
                      <a:pt x="171686" y="445947"/>
                    </a:cubicBezTo>
                    <a:cubicBezTo>
                      <a:pt x="183944" y="452234"/>
                      <a:pt x="198481" y="452234"/>
                      <a:pt x="210739" y="445947"/>
                    </a:cubicBezTo>
                    <a:cubicBezTo>
                      <a:pt x="210739" y="445947"/>
                      <a:pt x="231313" y="338886"/>
                      <a:pt x="235694" y="290595"/>
                    </a:cubicBezTo>
                    <a:cubicBezTo>
                      <a:pt x="241600" y="225063"/>
                      <a:pt x="251601" y="182200"/>
                      <a:pt x="248267" y="168103"/>
                    </a:cubicBezTo>
                    <a:cubicBezTo>
                      <a:pt x="245314" y="155721"/>
                      <a:pt x="173782" y="120478"/>
                      <a:pt x="151017" y="101428"/>
                    </a:cubicBezTo>
                    <a:lnTo>
                      <a:pt x="301036" y="151720"/>
                    </a:lnTo>
                    <a:cubicBezTo>
                      <a:pt x="298036" y="167932"/>
                      <a:pt x="296538" y="184381"/>
                      <a:pt x="296559" y="200869"/>
                    </a:cubicBezTo>
                    <a:cubicBezTo>
                      <a:pt x="297892" y="252780"/>
                      <a:pt x="300845" y="365271"/>
                      <a:pt x="300845" y="365271"/>
                    </a:cubicBezTo>
                    <a:cubicBezTo>
                      <a:pt x="300845" y="365271"/>
                      <a:pt x="321419" y="380130"/>
                      <a:pt x="338945" y="365271"/>
                    </a:cubicBezTo>
                    <a:cubicBezTo>
                      <a:pt x="338945" y="365271"/>
                      <a:pt x="377045" y="142576"/>
                      <a:pt x="372092" y="113144"/>
                    </a:cubicBezTo>
                    <a:cubicBezTo>
                      <a:pt x="367711" y="85140"/>
                      <a:pt x="235599" y="27990"/>
                      <a:pt x="212263" y="8369"/>
                    </a:cubicBezTo>
                    <a:cubicBezTo>
                      <a:pt x="204058" y="1673"/>
                      <a:pt x="193384" y="-1204"/>
                      <a:pt x="182926" y="463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5" name="Google Shape;325;p12"/>
              <p:cNvSpPr/>
              <p:nvPr/>
            </p:nvSpPr>
            <p:spPr>
              <a:xfrm>
                <a:off x="4279346" y="3421120"/>
                <a:ext cx="93728" cy="91216"/>
              </a:xfrm>
              <a:custGeom>
                <a:avLst/>
                <a:gdLst/>
                <a:ahLst/>
                <a:cxnLst/>
                <a:rect l="l" t="t" r="r" b="b"/>
                <a:pathLst>
                  <a:path w="117160" h="114020" extrusionOk="0">
                    <a:moveTo>
                      <a:pt x="24041" y="0"/>
                    </a:moveTo>
                    <a:cubicBezTo>
                      <a:pt x="24041" y="0"/>
                      <a:pt x="26232" y="42101"/>
                      <a:pt x="25279" y="45815"/>
                    </a:cubicBezTo>
                    <a:cubicBezTo>
                      <a:pt x="24327" y="49530"/>
                      <a:pt x="6229" y="61817"/>
                      <a:pt x="609" y="66294"/>
                    </a:cubicBezTo>
                    <a:cubicBezTo>
                      <a:pt x="-5010" y="70771"/>
                      <a:pt x="29661" y="104394"/>
                      <a:pt x="46425" y="112300"/>
                    </a:cubicBezTo>
                    <a:cubicBezTo>
                      <a:pt x="63189" y="120205"/>
                      <a:pt x="116148" y="99727"/>
                      <a:pt x="117100" y="74200"/>
                    </a:cubicBezTo>
                    <a:cubicBezTo>
                      <a:pt x="118053" y="48673"/>
                      <a:pt x="107575" y="26575"/>
                      <a:pt x="99860" y="25146"/>
                    </a:cubicBezTo>
                    <a:cubicBezTo>
                      <a:pt x="92145" y="23717"/>
                      <a:pt x="24041" y="0"/>
                      <a:pt x="24041" y="0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6" name="Google Shape;326;p12"/>
              <p:cNvSpPr/>
              <p:nvPr/>
            </p:nvSpPr>
            <p:spPr>
              <a:xfrm>
                <a:off x="4254597" y="3433943"/>
                <a:ext cx="151659" cy="296670"/>
              </a:xfrm>
              <a:custGeom>
                <a:avLst/>
                <a:gdLst/>
                <a:ahLst/>
                <a:cxnLst/>
                <a:rect l="l" t="t" r="r" b="b"/>
                <a:pathLst>
                  <a:path w="189574" h="370837" extrusionOk="0">
                    <a:moveTo>
                      <a:pt x="50329" y="37015"/>
                    </a:moveTo>
                    <a:cubicBezTo>
                      <a:pt x="50329" y="37015"/>
                      <a:pt x="80809" y="82450"/>
                      <a:pt x="123386" y="86736"/>
                    </a:cubicBezTo>
                    <a:cubicBezTo>
                      <a:pt x="136816" y="73496"/>
                      <a:pt x="137959" y="26442"/>
                      <a:pt x="119385" y="11393"/>
                    </a:cubicBezTo>
                    <a:cubicBezTo>
                      <a:pt x="119385" y="11393"/>
                      <a:pt x="136530" y="-2323"/>
                      <a:pt x="147960" y="344"/>
                    </a:cubicBezTo>
                    <a:cubicBezTo>
                      <a:pt x="160529" y="7926"/>
                      <a:pt x="169882" y="19861"/>
                      <a:pt x="174249" y="33872"/>
                    </a:cubicBezTo>
                    <a:cubicBezTo>
                      <a:pt x="185150" y="65076"/>
                      <a:pt x="190313" y="97985"/>
                      <a:pt x="189489" y="131027"/>
                    </a:cubicBezTo>
                    <a:cubicBezTo>
                      <a:pt x="188727" y="175604"/>
                      <a:pt x="189489" y="288380"/>
                      <a:pt x="189489" y="288380"/>
                    </a:cubicBezTo>
                    <a:cubicBezTo>
                      <a:pt x="184440" y="315326"/>
                      <a:pt x="168114" y="338824"/>
                      <a:pt x="144626" y="352960"/>
                    </a:cubicBezTo>
                    <a:cubicBezTo>
                      <a:pt x="113965" y="370266"/>
                      <a:pt x="77860" y="375239"/>
                      <a:pt x="43661" y="366866"/>
                    </a:cubicBezTo>
                    <a:cubicBezTo>
                      <a:pt x="26445" y="363208"/>
                      <a:pt x="12392" y="350816"/>
                      <a:pt x="6609" y="334195"/>
                    </a:cubicBezTo>
                    <a:cubicBezTo>
                      <a:pt x="8609" y="302858"/>
                      <a:pt x="20992" y="238945"/>
                      <a:pt x="16134" y="199226"/>
                    </a:cubicBezTo>
                    <a:cubicBezTo>
                      <a:pt x="11276" y="159507"/>
                      <a:pt x="2609" y="130551"/>
                      <a:pt x="418" y="98832"/>
                    </a:cubicBezTo>
                    <a:cubicBezTo>
                      <a:pt x="-1773" y="67114"/>
                      <a:pt x="4609" y="67686"/>
                      <a:pt x="20611" y="56351"/>
                    </a:cubicBezTo>
                    <a:cubicBezTo>
                      <a:pt x="30053" y="49217"/>
                      <a:pt x="39984" y="42759"/>
                      <a:pt x="50329" y="37015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7" name="Google Shape;327;p12"/>
              <p:cNvSpPr/>
              <p:nvPr/>
            </p:nvSpPr>
            <p:spPr>
              <a:xfrm>
                <a:off x="4275867" y="3326707"/>
                <a:ext cx="101092" cy="122957"/>
              </a:xfrm>
              <a:custGeom>
                <a:avLst/>
                <a:gdLst/>
                <a:ahLst/>
                <a:cxnLst/>
                <a:rect l="l" t="t" r="r" b="b"/>
                <a:pathLst>
                  <a:path w="126365" h="153696" extrusionOk="0">
                    <a:moveTo>
                      <a:pt x="123547" y="55607"/>
                    </a:moveTo>
                    <a:lnTo>
                      <a:pt x="123547" y="55607"/>
                    </a:lnTo>
                    <a:cubicBezTo>
                      <a:pt x="118499" y="22936"/>
                      <a:pt x="94972" y="-1543"/>
                      <a:pt x="61349" y="76"/>
                    </a:cubicBezTo>
                    <a:cubicBezTo>
                      <a:pt x="25578" y="2019"/>
                      <a:pt x="-1846" y="32594"/>
                      <a:pt x="97" y="68361"/>
                    </a:cubicBezTo>
                    <a:cubicBezTo>
                      <a:pt x="99" y="68399"/>
                      <a:pt x="101" y="68427"/>
                      <a:pt x="103" y="68465"/>
                    </a:cubicBezTo>
                    <a:cubicBezTo>
                      <a:pt x="1271" y="88611"/>
                      <a:pt x="11858" y="107032"/>
                      <a:pt x="28678" y="118186"/>
                    </a:cubicBezTo>
                    <a:cubicBezTo>
                      <a:pt x="29839" y="123139"/>
                      <a:pt x="31598" y="127940"/>
                      <a:pt x="33917" y="132473"/>
                    </a:cubicBezTo>
                    <a:cubicBezTo>
                      <a:pt x="45728" y="146380"/>
                      <a:pt x="81542" y="155048"/>
                      <a:pt x="92114" y="153524"/>
                    </a:cubicBezTo>
                    <a:cubicBezTo>
                      <a:pt x="104686" y="152400"/>
                      <a:pt x="115295" y="143713"/>
                      <a:pt x="118880" y="131616"/>
                    </a:cubicBezTo>
                    <a:cubicBezTo>
                      <a:pt x="129833" y="105899"/>
                      <a:pt x="126309" y="71609"/>
                      <a:pt x="123547" y="55607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8" name="Google Shape;328;p12"/>
              <p:cNvSpPr/>
              <p:nvPr/>
            </p:nvSpPr>
            <p:spPr>
              <a:xfrm>
                <a:off x="4266495" y="3315741"/>
                <a:ext cx="106605" cy="105444"/>
              </a:xfrm>
              <a:custGeom>
                <a:avLst/>
                <a:gdLst/>
                <a:ahLst/>
                <a:cxnLst/>
                <a:rect l="l" t="t" r="r" b="b"/>
                <a:pathLst>
                  <a:path w="133256" h="131805" extrusionOk="0">
                    <a:moveTo>
                      <a:pt x="40114" y="131806"/>
                    </a:moveTo>
                    <a:lnTo>
                      <a:pt x="40114" y="131806"/>
                    </a:lnTo>
                    <a:lnTo>
                      <a:pt x="43162" y="103231"/>
                    </a:lnTo>
                    <a:cubicBezTo>
                      <a:pt x="43162" y="103231"/>
                      <a:pt x="19921" y="43033"/>
                      <a:pt x="74880" y="54653"/>
                    </a:cubicBezTo>
                    <a:cubicBezTo>
                      <a:pt x="111170" y="62273"/>
                      <a:pt x="120314" y="65512"/>
                      <a:pt x="131363" y="41223"/>
                    </a:cubicBezTo>
                    <a:cubicBezTo>
                      <a:pt x="142412" y="16934"/>
                      <a:pt x="103455" y="-5068"/>
                      <a:pt x="57164" y="1028"/>
                    </a:cubicBezTo>
                    <a:cubicBezTo>
                      <a:pt x="24162" y="4533"/>
                      <a:pt x="-666" y="32717"/>
                      <a:pt x="14" y="65893"/>
                    </a:cubicBezTo>
                    <a:cubicBezTo>
                      <a:pt x="1252" y="83895"/>
                      <a:pt x="6014" y="120185"/>
                      <a:pt x="40114" y="131806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9" name="Google Shape;329;p12"/>
              <p:cNvSpPr/>
              <p:nvPr/>
            </p:nvSpPr>
            <p:spPr>
              <a:xfrm>
                <a:off x="4373043" y="3434522"/>
                <a:ext cx="49149" cy="71094"/>
              </a:xfrm>
              <a:custGeom>
                <a:avLst/>
                <a:gdLst/>
                <a:ahLst/>
                <a:cxnLst/>
                <a:rect l="l" t="t" r="r" b="b"/>
                <a:pathLst>
                  <a:path w="61436" h="88868" extrusionOk="0">
                    <a:moveTo>
                      <a:pt x="39243" y="88868"/>
                    </a:moveTo>
                    <a:cubicBezTo>
                      <a:pt x="47575" y="88601"/>
                      <a:pt x="55499" y="85192"/>
                      <a:pt x="61436" y="79343"/>
                    </a:cubicBezTo>
                    <a:cubicBezTo>
                      <a:pt x="60198" y="63722"/>
                      <a:pt x="40196" y="4381"/>
                      <a:pt x="0" y="0"/>
                    </a:cubicBezTo>
                    <a:cubicBezTo>
                      <a:pt x="10976" y="7630"/>
                      <a:pt x="19668" y="18098"/>
                      <a:pt x="25146" y="30290"/>
                    </a:cubicBezTo>
                    <a:cubicBezTo>
                      <a:pt x="31347" y="49425"/>
                      <a:pt x="36060" y="69009"/>
                      <a:pt x="39243" y="88868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grpSp>
            <p:nvGrpSpPr>
              <p:cNvPr id="330" name="Google Shape;330;p12"/>
              <p:cNvGrpSpPr/>
              <p:nvPr/>
            </p:nvGrpSpPr>
            <p:grpSpPr>
              <a:xfrm flipH="1">
                <a:off x="4321768" y="3621401"/>
                <a:ext cx="239005" cy="181217"/>
                <a:chOff x="6621095" y="1452181"/>
                <a:chExt cx="330894" cy="250785"/>
              </a:xfrm>
            </p:grpSpPr>
            <p:sp>
              <p:nvSpPr>
                <p:cNvPr id="331" name="Google Shape;331;p12"/>
                <p:cNvSpPr/>
                <p:nvPr/>
              </p:nvSpPr>
              <p:spPr>
                <a:xfrm>
                  <a:off x="6648789" y="1521520"/>
                  <a:ext cx="303199" cy="1745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3199" h="174500" extrusionOk="0">
                      <a:moveTo>
                        <a:pt x="0" y="63249"/>
                      </a:moveTo>
                      <a:lnTo>
                        <a:pt x="107878" y="860"/>
                      </a:lnTo>
                      <a:cubicBezTo>
                        <a:pt x="109779" y="-287"/>
                        <a:pt x="112155" y="-287"/>
                        <a:pt x="114056" y="860"/>
                      </a:cubicBezTo>
                      <a:lnTo>
                        <a:pt x="303200" y="110302"/>
                      </a:lnTo>
                      <a:lnTo>
                        <a:pt x="192280" y="174501"/>
                      </a:lnTo>
                      <a:close/>
                    </a:path>
                  </a:pathLst>
                </a:custGeom>
                <a:solidFill>
                  <a:srgbClr val="F4F4F4"/>
                </a:solidFill>
                <a:ln>
                  <a:noFill/>
                </a:ln>
              </p:spPr>
              <p:txBody>
                <a:bodyPr spcFirstLastPara="1" wrap="square" lIns="121900" tIns="60933" rIns="121900" bIns="60933" anchor="ctr" anchorCtr="0">
                  <a:noAutofit/>
                </a:bodyPr>
                <a:lstStyle/>
                <a:p>
                  <a:pPr defTabSz="1219170"/>
                  <a:endParaRPr sz="2400"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32" name="Google Shape;332;p12"/>
                <p:cNvSpPr/>
                <p:nvPr/>
              </p:nvSpPr>
              <p:spPr>
                <a:xfrm>
                  <a:off x="6790409" y="1564671"/>
                  <a:ext cx="79173" cy="4581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9173" h="45815" extrusionOk="0">
                      <a:moveTo>
                        <a:pt x="79174" y="29242"/>
                      </a:moveTo>
                      <a:lnTo>
                        <a:pt x="50660" y="45815"/>
                      </a:lnTo>
                      <a:lnTo>
                        <a:pt x="0" y="16478"/>
                      </a:lnTo>
                      <a:lnTo>
                        <a:pt x="28514" y="0"/>
                      </a:lnTo>
                      <a:lnTo>
                        <a:pt x="79174" y="29242"/>
                      </a:lnTo>
                      <a:close/>
                    </a:path>
                  </a:pathLst>
                </a:custGeom>
                <a:solidFill>
                  <a:srgbClr val="000000">
                    <a:alpha val="14900"/>
                  </a:srgbClr>
                </a:solidFill>
                <a:ln>
                  <a:noFill/>
                </a:ln>
              </p:spPr>
              <p:txBody>
                <a:bodyPr spcFirstLastPara="1" wrap="square" lIns="121900" tIns="60933" rIns="121900" bIns="60933" anchor="ctr" anchorCtr="0">
                  <a:noAutofit/>
                </a:bodyPr>
                <a:lstStyle/>
                <a:p>
                  <a:pPr defTabSz="1219170"/>
                  <a:endParaRPr sz="2400"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33" name="Google Shape;333;p12"/>
                <p:cNvSpPr/>
                <p:nvPr/>
              </p:nvSpPr>
              <p:spPr>
                <a:xfrm>
                  <a:off x="6648780" y="1584674"/>
                  <a:ext cx="303209" cy="1182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3209" h="118292" extrusionOk="0">
                      <a:moveTo>
                        <a:pt x="303209" y="47149"/>
                      </a:moveTo>
                      <a:lnTo>
                        <a:pt x="303209" y="49721"/>
                      </a:lnTo>
                      <a:cubicBezTo>
                        <a:pt x="303237" y="53440"/>
                        <a:pt x="301279" y="56892"/>
                        <a:pt x="298076" y="58769"/>
                      </a:cubicBezTo>
                      <a:lnTo>
                        <a:pt x="197517" y="116872"/>
                      </a:lnTo>
                      <a:cubicBezTo>
                        <a:pt x="194323" y="118766"/>
                        <a:pt x="190350" y="118766"/>
                        <a:pt x="187157" y="116872"/>
                      </a:cubicBezTo>
                      <a:lnTo>
                        <a:pt x="5237" y="12097"/>
                      </a:lnTo>
                      <a:cubicBezTo>
                        <a:pt x="1863" y="10147"/>
                        <a:pt x="-153" y="6475"/>
                        <a:pt x="9" y="2572"/>
                      </a:cubicBezTo>
                      <a:lnTo>
                        <a:pt x="9" y="0"/>
                      </a:lnTo>
                      <a:lnTo>
                        <a:pt x="192289" y="111252"/>
                      </a:lnTo>
                      <a:close/>
                    </a:path>
                  </a:pathLst>
                </a:custGeom>
                <a:solidFill>
                  <a:srgbClr val="E5E5E5"/>
                </a:solidFill>
                <a:ln>
                  <a:noFill/>
                </a:ln>
              </p:spPr>
              <p:txBody>
                <a:bodyPr spcFirstLastPara="1" wrap="square" lIns="121900" tIns="60933" rIns="121900" bIns="60933" anchor="ctr" anchorCtr="0">
                  <a:noAutofit/>
                </a:bodyPr>
                <a:lstStyle/>
                <a:p>
                  <a:pPr defTabSz="1219170"/>
                  <a:endParaRPr sz="2400"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34" name="Google Shape;334;p12"/>
                <p:cNvSpPr/>
                <p:nvPr/>
              </p:nvSpPr>
              <p:spPr>
                <a:xfrm>
                  <a:off x="6621095" y="1454086"/>
                  <a:ext cx="217122" cy="2443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7122" h="244320" extrusionOk="0">
                      <a:moveTo>
                        <a:pt x="217123" y="243459"/>
                      </a:moveTo>
                      <a:cubicBezTo>
                        <a:pt x="213644" y="244834"/>
                        <a:pt x="209728" y="244552"/>
                        <a:pt x="206478" y="242697"/>
                      </a:cubicBezTo>
                      <a:lnTo>
                        <a:pt x="25888" y="137922"/>
                      </a:lnTo>
                      <a:cubicBezTo>
                        <a:pt x="22695" y="136081"/>
                        <a:pt x="20499" y="132899"/>
                        <a:pt x="19900" y="129254"/>
                      </a:cubicBezTo>
                      <a:lnTo>
                        <a:pt x="36" y="10763"/>
                      </a:lnTo>
                      <a:cubicBezTo>
                        <a:pt x="-12" y="10097"/>
                        <a:pt x="-12" y="9429"/>
                        <a:pt x="36" y="8763"/>
                      </a:cubicBezTo>
                      <a:cubicBezTo>
                        <a:pt x="26" y="5457"/>
                        <a:pt x="1366" y="2291"/>
                        <a:pt x="3743" y="0"/>
                      </a:cubicBezTo>
                      <a:lnTo>
                        <a:pt x="191935" y="108871"/>
                      </a:lnTo>
                      <a:cubicBezTo>
                        <a:pt x="194226" y="110281"/>
                        <a:pt x="195813" y="112601"/>
                        <a:pt x="196307" y="115252"/>
                      </a:cubicBezTo>
                      <a:close/>
                    </a:path>
                  </a:pathLst>
                </a:custGeom>
                <a:solidFill>
                  <a:srgbClr val="F4F4F4"/>
                </a:solidFill>
                <a:ln>
                  <a:noFill/>
                </a:ln>
              </p:spPr>
              <p:txBody>
                <a:bodyPr spcFirstLastPara="1" wrap="square" lIns="121900" tIns="60933" rIns="121900" bIns="60933" anchor="ctr" anchorCtr="0">
                  <a:noAutofit/>
                </a:bodyPr>
                <a:lstStyle/>
                <a:p>
                  <a:pPr defTabSz="1219170"/>
                  <a:endParaRPr sz="2400"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35" name="Google Shape;335;p12"/>
                <p:cNvSpPr/>
                <p:nvPr/>
              </p:nvSpPr>
              <p:spPr>
                <a:xfrm>
                  <a:off x="6624647" y="1452181"/>
                  <a:ext cx="216421" cy="245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6421" h="245364" extrusionOk="0">
                      <a:moveTo>
                        <a:pt x="216422" y="243840"/>
                      </a:moveTo>
                      <a:lnTo>
                        <a:pt x="215186" y="244602"/>
                      </a:lnTo>
                      <a:lnTo>
                        <a:pt x="213570" y="245364"/>
                      </a:lnTo>
                      <a:lnTo>
                        <a:pt x="192090" y="117157"/>
                      </a:lnTo>
                      <a:cubicBezTo>
                        <a:pt x="191596" y="114506"/>
                        <a:pt x="190008" y="112186"/>
                        <a:pt x="187718" y="110776"/>
                      </a:cubicBezTo>
                      <a:lnTo>
                        <a:pt x="0" y="1905"/>
                      </a:lnTo>
                      <a:cubicBezTo>
                        <a:pt x="694" y="1117"/>
                        <a:pt x="1530" y="471"/>
                        <a:pt x="2471" y="0"/>
                      </a:cubicBezTo>
                      <a:lnTo>
                        <a:pt x="191044" y="109061"/>
                      </a:lnTo>
                      <a:cubicBezTo>
                        <a:pt x="193373" y="110453"/>
                        <a:pt x="194998" y="112774"/>
                        <a:pt x="195512" y="115443"/>
                      </a:cubicBezTo>
                      <a:close/>
                    </a:path>
                  </a:pathLst>
                </a:custGeom>
                <a:solidFill>
                  <a:srgbClr val="E5E5E5"/>
                </a:solidFill>
                <a:ln>
                  <a:noFill/>
                </a:ln>
              </p:spPr>
              <p:txBody>
                <a:bodyPr spcFirstLastPara="1" wrap="square" lIns="121900" tIns="60933" rIns="121900" bIns="60933" anchor="ctr" anchorCtr="0">
                  <a:noAutofit/>
                </a:bodyPr>
                <a:lstStyle/>
                <a:p>
                  <a:pPr defTabSz="1219170"/>
                  <a:endParaRPr sz="2400"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sp>
            <p:nvSpPr>
              <p:cNvPr id="336" name="Google Shape;336;p12"/>
              <p:cNvSpPr/>
              <p:nvPr/>
            </p:nvSpPr>
            <p:spPr>
              <a:xfrm>
                <a:off x="4228115" y="3483465"/>
                <a:ext cx="114539" cy="321870"/>
              </a:xfrm>
              <a:custGeom>
                <a:avLst/>
                <a:gdLst/>
                <a:ahLst/>
                <a:cxnLst/>
                <a:rect l="l" t="t" r="r" b="b"/>
                <a:pathLst>
                  <a:path w="143174" h="402337" extrusionOk="0">
                    <a:moveTo>
                      <a:pt x="132316" y="337406"/>
                    </a:moveTo>
                    <a:cubicBezTo>
                      <a:pt x="124650" y="332329"/>
                      <a:pt x="116664" y="327748"/>
                      <a:pt x="108408" y="323690"/>
                    </a:cubicBezTo>
                    <a:cubicBezTo>
                      <a:pt x="100708" y="321280"/>
                      <a:pt x="93712" y="317032"/>
                      <a:pt x="88025" y="311307"/>
                    </a:cubicBezTo>
                    <a:cubicBezTo>
                      <a:pt x="80500" y="303973"/>
                      <a:pt x="68308" y="276255"/>
                      <a:pt x="59450" y="249204"/>
                    </a:cubicBezTo>
                    <a:cubicBezTo>
                      <a:pt x="50616" y="218763"/>
                      <a:pt x="47136" y="187016"/>
                      <a:pt x="49163" y="155383"/>
                    </a:cubicBezTo>
                    <a:cubicBezTo>
                      <a:pt x="52877" y="117283"/>
                      <a:pt x="66498" y="64419"/>
                      <a:pt x="69927" y="42607"/>
                    </a:cubicBezTo>
                    <a:cubicBezTo>
                      <a:pt x="73356" y="20795"/>
                      <a:pt x="66403" y="12127"/>
                      <a:pt x="56211" y="4507"/>
                    </a:cubicBezTo>
                    <a:cubicBezTo>
                      <a:pt x="44305" y="-5018"/>
                      <a:pt x="27636" y="-732"/>
                      <a:pt x="19064" y="29844"/>
                    </a:cubicBezTo>
                    <a:cubicBezTo>
                      <a:pt x="7948" y="72154"/>
                      <a:pt x="1559" y="115569"/>
                      <a:pt x="14" y="159288"/>
                    </a:cubicBezTo>
                    <a:cubicBezTo>
                      <a:pt x="-297" y="191635"/>
                      <a:pt x="4690" y="223811"/>
                      <a:pt x="14777" y="254538"/>
                    </a:cubicBezTo>
                    <a:cubicBezTo>
                      <a:pt x="23864" y="280970"/>
                      <a:pt x="36113" y="306202"/>
                      <a:pt x="51258" y="329691"/>
                    </a:cubicBezTo>
                    <a:cubicBezTo>
                      <a:pt x="55449" y="336739"/>
                      <a:pt x="56783" y="342930"/>
                      <a:pt x="63164" y="357313"/>
                    </a:cubicBezTo>
                    <a:cubicBezTo>
                      <a:pt x="69329" y="371772"/>
                      <a:pt x="78905" y="384517"/>
                      <a:pt x="91073" y="394461"/>
                    </a:cubicBezTo>
                    <a:cubicBezTo>
                      <a:pt x="101836" y="402176"/>
                      <a:pt x="106884" y="403224"/>
                      <a:pt x="109361" y="401795"/>
                    </a:cubicBezTo>
                    <a:cubicBezTo>
                      <a:pt x="111837" y="400366"/>
                      <a:pt x="111837" y="396461"/>
                      <a:pt x="107360" y="392270"/>
                    </a:cubicBezTo>
                    <a:cubicBezTo>
                      <a:pt x="99783" y="386317"/>
                      <a:pt x="93331" y="379059"/>
                      <a:pt x="88310" y="370839"/>
                    </a:cubicBezTo>
                    <a:cubicBezTo>
                      <a:pt x="88310" y="370839"/>
                      <a:pt x="97835" y="380364"/>
                      <a:pt x="103836" y="385412"/>
                    </a:cubicBezTo>
                    <a:cubicBezTo>
                      <a:pt x="109247" y="389955"/>
                      <a:pt x="115237" y="393775"/>
                      <a:pt x="121648" y="396747"/>
                    </a:cubicBezTo>
                    <a:cubicBezTo>
                      <a:pt x="127934" y="399509"/>
                      <a:pt x="136602" y="394175"/>
                      <a:pt x="132125" y="389984"/>
                    </a:cubicBezTo>
                    <a:cubicBezTo>
                      <a:pt x="127649" y="385793"/>
                      <a:pt x="123172" y="383697"/>
                      <a:pt x="114314" y="375982"/>
                    </a:cubicBezTo>
                    <a:cubicBezTo>
                      <a:pt x="109302" y="372067"/>
                      <a:pt x="104818" y="367524"/>
                      <a:pt x="100979" y="362457"/>
                    </a:cubicBezTo>
                    <a:cubicBezTo>
                      <a:pt x="107247" y="367238"/>
                      <a:pt x="113870" y="371534"/>
                      <a:pt x="120791" y="375315"/>
                    </a:cubicBezTo>
                    <a:cubicBezTo>
                      <a:pt x="126215" y="378592"/>
                      <a:pt x="132455" y="380278"/>
                      <a:pt x="138793" y="380173"/>
                    </a:cubicBezTo>
                    <a:cubicBezTo>
                      <a:pt x="142127" y="380173"/>
                      <a:pt x="146127" y="375411"/>
                      <a:pt x="139936" y="370648"/>
                    </a:cubicBezTo>
                    <a:cubicBezTo>
                      <a:pt x="131572" y="366295"/>
                      <a:pt x="123741" y="360990"/>
                      <a:pt x="116600" y="354837"/>
                    </a:cubicBezTo>
                    <a:cubicBezTo>
                      <a:pt x="109742" y="347979"/>
                      <a:pt x="105932" y="342264"/>
                      <a:pt x="107837" y="342168"/>
                    </a:cubicBezTo>
                    <a:cubicBezTo>
                      <a:pt x="109742" y="342073"/>
                      <a:pt x="113456" y="346264"/>
                      <a:pt x="121457" y="348836"/>
                    </a:cubicBezTo>
                    <a:cubicBezTo>
                      <a:pt x="129458" y="351408"/>
                      <a:pt x="138031" y="348836"/>
                      <a:pt x="139079" y="344645"/>
                    </a:cubicBezTo>
                    <a:cubicBezTo>
                      <a:pt x="140126" y="340454"/>
                      <a:pt x="139841" y="341121"/>
                      <a:pt x="132316" y="337406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37" name="Google Shape;337;p12"/>
              <p:cNvSpPr/>
              <p:nvPr/>
            </p:nvSpPr>
            <p:spPr>
              <a:xfrm>
                <a:off x="4223328" y="3479828"/>
                <a:ext cx="66218" cy="90245"/>
              </a:xfrm>
              <a:custGeom>
                <a:avLst/>
                <a:gdLst/>
                <a:ahLst/>
                <a:cxnLst/>
                <a:rect l="l" t="t" r="r" b="b"/>
                <a:pathLst>
                  <a:path w="82772" h="112806" extrusionOk="0">
                    <a:moveTo>
                      <a:pt x="0" y="90018"/>
                    </a:moveTo>
                    <a:cubicBezTo>
                      <a:pt x="0" y="90018"/>
                      <a:pt x="30004" y="119831"/>
                      <a:pt x="65532" y="111258"/>
                    </a:cubicBezTo>
                    <a:cubicBezTo>
                      <a:pt x="70580" y="107829"/>
                      <a:pt x="82772" y="38106"/>
                      <a:pt x="82772" y="38106"/>
                    </a:cubicBezTo>
                    <a:cubicBezTo>
                      <a:pt x="82772" y="38106"/>
                      <a:pt x="82772" y="-565"/>
                      <a:pt x="53149" y="6"/>
                    </a:cubicBezTo>
                    <a:cubicBezTo>
                      <a:pt x="23527" y="578"/>
                      <a:pt x="0" y="90018"/>
                      <a:pt x="0" y="90018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pPr defTabSz="1219170"/>
                <a:endParaRPr sz="24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38" name="Google Shape;338;p12"/>
          <p:cNvSpPr txBox="1">
            <a:spLocks noGrp="1"/>
          </p:cNvSpPr>
          <p:nvPr>
            <p:ph type="ctrTitle"/>
          </p:nvPr>
        </p:nvSpPr>
        <p:spPr>
          <a:xfrm>
            <a:off x="1090332" y="2484800"/>
            <a:ext cx="6961568" cy="18884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>
              <a:lnSpc>
                <a:spcPct val="150000"/>
              </a:lnSpc>
            </a:pPr>
            <a:r>
              <a:rPr lang="en">
                <a:latin typeface="Oswald" pitchFamily="2" charset="0"/>
                <a:cs typeface="Arial" panose="020B0604020202020204" pitchFamily="34" charset="0"/>
              </a:rPr>
              <a:t>LUYỆN TẬP</a:t>
            </a:r>
            <a:br>
              <a:rPr lang="en">
                <a:latin typeface="Oswald" pitchFamily="2" charset="0"/>
                <a:cs typeface="Arial" panose="020B0604020202020204" pitchFamily="34" charset="0"/>
              </a:rPr>
            </a:br>
            <a:r>
              <a:rPr lang="en">
                <a:latin typeface="Oswald" pitchFamily="2" charset="0"/>
                <a:cs typeface="Arial" panose="020B0604020202020204" pitchFamily="34" charset="0"/>
              </a:rPr>
              <a:t>THIẾT KẾ THUẬT TOÁN</a:t>
            </a:r>
            <a:endParaRPr>
              <a:latin typeface="Oswald" pitchFamily="2" charset="0"/>
              <a:cs typeface="Arial" panose="020B0604020202020204" pitchFamily="34" charset="0"/>
            </a:endParaRPr>
          </a:p>
        </p:txBody>
      </p:sp>
      <p:sp>
        <p:nvSpPr>
          <p:cNvPr id="339" name="Google Shape;338;p12">
            <a:extLst>
              <a:ext uri="{FF2B5EF4-FFF2-40B4-BE49-F238E27FC236}">
                <a16:creationId xmlns:a16="http://schemas.microsoft.com/office/drawing/2014/main" id="{FCAD6450-E572-4F7B-9D50-F3E0EEC75C06}"/>
              </a:ext>
            </a:extLst>
          </p:cNvPr>
          <p:cNvSpPr txBox="1">
            <a:spLocks/>
          </p:cNvSpPr>
          <p:nvPr/>
        </p:nvSpPr>
        <p:spPr>
          <a:xfrm>
            <a:off x="1090332" y="688092"/>
            <a:ext cx="3366823" cy="11474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marR="0" lvl="1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marR="0" lvl="2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marR="0" lvl="3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marR="0"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marR="0" lvl="5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marR="0" lvl="6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marR="0" lvl="7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marR="0" lvl="8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pPr>
              <a:lnSpc>
                <a:spcPct val="150000"/>
              </a:lnSpc>
            </a:pPr>
            <a:r>
              <a:rPr lang="en-US">
                <a:latin typeface="Oswald" pitchFamily="2" charset="0"/>
                <a:cs typeface="Arial" panose="020B0604020202020204" pitchFamily="34" charset="0"/>
              </a:rPr>
              <a:t>Nhóm 16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EB31B8BF-1768-41AD-979A-58C78471AB0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62851" y="3069397"/>
            <a:ext cx="10548731" cy="2125456"/>
          </a:xfrm>
        </p:spPr>
        <p:txBody>
          <a:bodyPr/>
          <a:lstStyle/>
          <a:p>
            <a:pPr algn="l"/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ho 1 tập số dương, xác định xem có thể chia tập hợp ra hai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tập hợp có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tổng bằng nhau hay không.</a:t>
            </a:r>
            <a:endParaRPr lang="en-US" sz="2000">
              <a:solidFill>
                <a:schemeClr val="tx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l"/>
            <a:endParaRPr lang="en-US" sz="2000">
              <a:solidFill>
                <a:schemeClr val="tx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algn="l">
              <a:spcBef>
                <a:spcPts val="0"/>
              </a:spcBef>
              <a:spcAft>
                <a:spcPts val="0"/>
              </a:spcAft>
            </a:pP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put : 1 mảng có N phần tử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số nguyên dương</a:t>
            </a:r>
          </a:p>
          <a:p>
            <a:pPr marL="0" algn="l">
              <a:spcBef>
                <a:spcPts val="0"/>
              </a:spcBef>
              <a:spcAft>
                <a:spcPts val="0"/>
              </a:spcAft>
            </a:pPr>
            <a:r>
              <a:rPr lang="en-US" sz="200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iá trị mỗi tờ tiền được biểu diễn bằng 1 số nguyên dương trong mảng</a:t>
            </a:r>
          </a:p>
          <a:p>
            <a:pPr marL="0" algn="l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schemeClr val="tx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l">
              <a:spcBef>
                <a:spcPts val="0"/>
              </a:spcBef>
            </a:pP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utput 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rue hoặc False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00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Tồn tại tập hợp có tổng bằng nửa tổng giá trị của tập hợp ban đầu)</a:t>
            </a:r>
            <a:endParaRPr lang="en-US" sz="2000">
              <a:solidFill>
                <a:schemeClr val="tx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l"/>
            <a:endParaRPr lang="en-US" sz="2000">
              <a:solidFill>
                <a:schemeClr val="tx1"/>
              </a:solidFill>
            </a:endParaRPr>
          </a:p>
          <a:p>
            <a:pPr algn="l"/>
            <a:endParaRPr lang="en-US" sz="200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42C3E942-A587-4796-BE2B-89332CAE86AC}"/>
              </a:ext>
            </a:extLst>
          </p:cNvPr>
          <p:cNvSpPr txBox="1">
            <a:spLocks/>
          </p:cNvSpPr>
          <p:nvPr/>
        </p:nvSpPr>
        <p:spPr>
          <a:xfrm>
            <a:off x="862851" y="1122363"/>
            <a:ext cx="4572000" cy="5474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60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marR="0" lvl="1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marR="0" lvl="2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marR="0" lvl="3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marR="0" lvl="4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marR="0" lvl="5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marR="0" lvl="6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marR="0" lvl="7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marR="0" lvl="8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r>
              <a:rPr lang="en-US" sz="4000"/>
              <a:t>Bài 1: Abstraction</a:t>
            </a: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6FD1D124-D3FC-48B2-8190-06225B6CE235}"/>
              </a:ext>
            </a:extLst>
          </p:cNvPr>
          <p:cNvSpPr/>
          <p:nvPr/>
        </p:nvSpPr>
        <p:spPr>
          <a:xfrm rot="5400000">
            <a:off x="-345132" y="1024277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2" name="Table 5">
            <a:extLst>
              <a:ext uri="{FF2B5EF4-FFF2-40B4-BE49-F238E27FC236}">
                <a16:creationId xmlns:a16="http://schemas.microsoft.com/office/drawing/2014/main" id="{565A1576-79B9-4260-BC4B-E266CC41C2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542709"/>
              </p:ext>
            </p:extLst>
          </p:nvPr>
        </p:nvGraphicFramePr>
        <p:xfrm>
          <a:off x="2032000" y="2181593"/>
          <a:ext cx="8127999" cy="3759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2283794904"/>
                    </a:ext>
                  </a:extLst>
                </a:gridCol>
                <a:gridCol w="903111">
                  <a:extLst>
                    <a:ext uri="{9D8B030D-6E8A-4147-A177-3AD203B41FA5}">
                      <a16:colId xmlns:a16="http://schemas.microsoft.com/office/drawing/2014/main" val="379236515"/>
                    </a:ext>
                  </a:extLst>
                </a:gridCol>
                <a:gridCol w="903111">
                  <a:extLst>
                    <a:ext uri="{9D8B030D-6E8A-4147-A177-3AD203B41FA5}">
                      <a16:colId xmlns:a16="http://schemas.microsoft.com/office/drawing/2014/main" val="3940423180"/>
                    </a:ext>
                  </a:extLst>
                </a:gridCol>
                <a:gridCol w="903111">
                  <a:extLst>
                    <a:ext uri="{9D8B030D-6E8A-4147-A177-3AD203B41FA5}">
                      <a16:colId xmlns:a16="http://schemas.microsoft.com/office/drawing/2014/main" val="2564337590"/>
                    </a:ext>
                  </a:extLst>
                </a:gridCol>
                <a:gridCol w="903111">
                  <a:extLst>
                    <a:ext uri="{9D8B030D-6E8A-4147-A177-3AD203B41FA5}">
                      <a16:colId xmlns:a16="http://schemas.microsoft.com/office/drawing/2014/main" val="1026647589"/>
                    </a:ext>
                  </a:extLst>
                </a:gridCol>
                <a:gridCol w="903111">
                  <a:extLst>
                    <a:ext uri="{9D8B030D-6E8A-4147-A177-3AD203B41FA5}">
                      <a16:colId xmlns:a16="http://schemas.microsoft.com/office/drawing/2014/main" val="1291531475"/>
                    </a:ext>
                  </a:extLst>
                </a:gridCol>
                <a:gridCol w="903111">
                  <a:extLst>
                    <a:ext uri="{9D8B030D-6E8A-4147-A177-3AD203B41FA5}">
                      <a16:colId xmlns:a16="http://schemas.microsoft.com/office/drawing/2014/main" val="4124876410"/>
                    </a:ext>
                  </a:extLst>
                </a:gridCol>
                <a:gridCol w="903111">
                  <a:extLst>
                    <a:ext uri="{9D8B030D-6E8A-4147-A177-3AD203B41FA5}">
                      <a16:colId xmlns:a16="http://schemas.microsoft.com/office/drawing/2014/main" val="4010991286"/>
                    </a:ext>
                  </a:extLst>
                </a:gridCol>
                <a:gridCol w="903111">
                  <a:extLst>
                    <a:ext uri="{9D8B030D-6E8A-4147-A177-3AD203B41FA5}">
                      <a16:colId xmlns:a16="http://schemas.microsoft.com/office/drawing/2014/main" val="337362225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3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4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8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2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2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4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5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7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8131543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100370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  <p:bldP spid="4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EB31B8BF-1768-41AD-979A-58C78471AB0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23638" y="1663037"/>
            <a:ext cx="9650379" cy="1427923"/>
          </a:xfrm>
        </p:spPr>
        <p:txBody>
          <a:bodyPr/>
          <a:lstStyle/>
          <a:p>
            <a:pPr algn="l"/>
            <a:r>
              <a:rPr lang="en-US"/>
              <a:t>Cho ví dụ mảng [1, 2, 3, 4]</a:t>
            </a:r>
          </a:p>
          <a:p>
            <a:pPr algn="l"/>
            <a:r>
              <a:rPr lang="en-US"/>
              <a:t>sum = 1 + 2 + 3 + 4 = 10</a:t>
            </a:r>
          </a:p>
          <a:p>
            <a:pPr algn="l"/>
            <a:r>
              <a:rPr lang="en-US"/>
              <a:t> *Mục tiêu là tìm được kết hợp các phần tử nào đó có tổng bằng sum/2</a:t>
            </a:r>
          </a:p>
          <a:p>
            <a:pPr algn="l"/>
            <a:endParaRPr lang="en-US"/>
          </a:p>
          <a:p>
            <a:pPr marL="342900" indent="-342900" algn="l">
              <a:buFont typeface="Symbol" panose="05050102010706020507" pitchFamily="18" charset="2"/>
              <a:buChar char="Þ"/>
            </a:pPr>
            <a:endParaRPr lang="en-US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42C3E942-A587-4796-BE2B-89332CAE86AC}"/>
              </a:ext>
            </a:extLst>
          </p:cNvPr>
          <p:cNvSpPr txBox="1">
            <a:spLocks/>
          </p:cNvSpPr>
          <p:nvPr/>
        </p:nvSpPr>
        <p:spPr>
          <a:xfrm>
            <a:off x="1033670" y="1122361"/>
            <a:ext cx="6162259" cy="5474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60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marR="0" lvl="1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marR="0" lvl="2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marR="0" lvl="3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marR="0" lvl="4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marR="0" lvl="5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marR="0" lvl="6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marR="0" lvl="7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marR="0" lvl="8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r>
              <a:rPr lang="en-US" sz="4000"/>
              <a:t>Bài 1: Pattern Recognition</a:t>
            </a: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6FD1D124-D3FC-48B2-8190-06225B6CE235}"/>
              </a:ext>
            </a:extLst>
          </p:cNvPr>
          <p:cNvSpPr/>
          <p:nvPr/>
        </p:nvSpPr>
        <p:spPr>
          <a:xfrm rot="5400000">
            <a:off x="-345132" y="1024277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941C9780-B5BD-41CA-B1F6-7B7E9AC2F09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0059270"/>
              </p:ext>
            </p:extLst>
          </p:nvPr>
        </p:nvGraphicFramePr>
        <p:xfrm>
          <a:off x="2020955" y="3193773"/>
          <a:ext cx="5335600" cy="2945295"/>
        </p:xfrm>
        <a:graphic>
          <a:graphicData uri="http://schemas.openxmlformats.org/drawingml/2006/table">
            <a:tbl>
              <a:tblPr firstRow="1" firstCol="1">
                <a:effectLst/>
                <a:tableStyleId>{F5AB1C69-6EDB-4FF4-983F-18BD219EF322}</a:tableStyleId>
              </a:tblPr>
              <a:tblGrid>
                <a:gridCol w="1994851">
                  <a:extLst>
                    <a:ext uri="{9D8B030D-6E8A-4147-A177-3AD203B41FA5}">
                      <a16:colId xmlns:a16="http://schemas.microsoft.com/office/drawing/2014/main" val="1380470605"/>
                    </a:ext>
                  </a:extLst>
                </a:gridCol>
                <a:gridCol w="688716">
                  <a:extLst>
                    <a:ext uri="{9D8B030D-6E8A-4147-A177-3AD203B41FA5}">
                      <a16:colId xmlns:a16="http://schemas.microsoft.com/office/drawing/2014/main" val="3832989121"/>
                    </a:ext>
                  </a:extLst>
                </a:gridCol>
                <a:gridCol w="657187">
                  <a:extLst>
                    <a:ext uri="{9D8B030D-6E8A-4147-A177-3AD203B41FA5}">
                      <a16:colId xmlns:a16="http://schemas.microsoft.com/office/drawing/2014/main" val="2176251432"/>
                    </a:ext>
                  </a:extLst>
                </a:gridCol>
                <a:gridCol w="666898">
                  <a:extLst>
                    <a:ext uri="{9D8B030D-6E8A-4147-A177-3AD203B41FA5}">
                      <a16:colId xmlns:a16="http://schemas.microsoft.com/office/drawing/2014/main" val="2923274525"/>
                    </a:ext>
                  </a:extLst>
                </a:gridCol>
                <a:gridCol w="670866">
                  <a:extLst>
                    <a:ext uri="{9D8B030D-6E8A-4147-A177-3AD203B41FA5}">
                      <a16:colId xmlns:a16="http://schemas.microsoft.com/office/drawing/2014/main" val="2113949651"/>
                    </a:ext>
                  </a:extLst>
                </a:gridCol>
                <a:gridCol w="657082">
                  <a:extLst>
                    <a:ext uri="{9D8B030D-6E8A-4147-A177-3AD203B41FA5}">
                      <a16:colId xmlns:a16="http://schemas.microsoft.com/office/drawing/2014/main" val="1837457866"/>
                    </a:ext>
                  </a:extLst>
                </a:gridCol>
              </a:tblGrid>
              <a:tr h="589059">
                <a:tc>
                  <a:txBody>
                    <a:bodyPr/>
                    <a:lstStyle/>
                    <a:p>
                      <a:pPr marL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400">
                        <a:effectLst/>
                        <a:latin typeface="+mn-lt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vi-VN" sz="2400">
                          <a:effectLst/>
                          <a:latin typeface="+mn-lt"/>
                        </a:rPr>
                        <a:t>1</a:t>
                      </a:r>
                      <a:endParaRPr lang="en-US" sz="2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vi-VN" sz="2400">
                          <a:effectLst/>
                          <a:latin typeface="+mn-lt"/>
                        </a:rPr>
                        <a:t>2</a:t>
                      </a:r>
                      <a:endParaRPr lang="en-US" sz="2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vi-VN" sz="2400">
                          <a:effectLst/>
                          <a:latin typeface="+mn-lt"/>
                        </a:rPr>
                        <a:t>3</a:t>
                      </a:r>
                      <a:endParaRPr lang="en-US" sz="2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vi-VN" sz="2400">
                          <a:effectLst/>
                          <a:latin typeface="+mn-lt"/>
                        </a:rPr>
                        <a:t>4</a:t>
                      </a:r>
                      <a:endParaRPr lang="en-US" sz="2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vi-VN" sz="2400">
                          <a:effectLst/>
                          <a:latin typeface="+mn-lt"/>
                        </a:rPr>
                        <a:t>5</a:t>
                      </a:r>
                      <a:endParaRPr lang="en-US" sz="2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34183899"/>
                  </a:ext>
                </a:extLst>
              </a:tr>
              <a:tr h="589059">
                <a:tc>
                  <a:txBody>
                    <a:bodyPr/>
                    <a:lstStyle/>
                    <a:p>
                      <a:pPr marL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vi-VN" sz="2400">
                          <a:effectLst/>
                          <a:latin typeface="+mn-lt"/>
                        </a:rPr>
                        <a:t>{1}</a:t>
                      </a:r>
                      <a:endParaRPr lang="en-US" sz="2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87672270"/>
                  </a:ext>
                </a:extLst>
              </a:tr>
              <a:tr h="589059">
                <a:tc>
                  <a:txBody>
                    <a:bodyPr/>
                    <a:lstStyle/>
                    <a:p>
                      <a:pPr marL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vi-VN" sz="2400">
                          <a:effectLst/>
                          <a:latin typeface="+mn-lt"/>
                        </a:rPr>
                        <a:t>{1, 2}</a:t>
                      </a:r>
                      <a:endParaRPr lang="en-US" sz="2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86779763"/>
                  </a:ext>
                </a:extLst>
              </a:tr>
              <a:tr h="589059">
                <a:tc>
                  <a:txBody>
                    <a:bodyPr/>
                    <a:lstStyle/>
                    <a:p>
                      <a:pPr marL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vi-VN" sz="2400">
                          <a:effectLst/>
                          <a:latin typeface="+mn-lt"/>
                        </a:rPr>
                        <a:t>{1, 2, 3}</a:t>
                      </a:r>
                      <a:endParaRPr lang="en-US" sz="2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72932741"/>
                  </a:ext>
                </a:extLst>
              </a:tr>
              <a:tr h="589059">
                <a:tc>
                  <a:txBody>
                    <a:bodyPr/>
                    <a:lstStyle/>
                    <a:p>
                      <a:pPr marL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vi-VN" sz="2400">
                          <a:effectLst/>
                          <a:latin typeface="+mn-lt"/>
                        </a:rPr>
                        <a:t>{1, 2, 3, 4}</a:t>
                      </a:r>
                      <a:endParaRPr lang="en-US" sz="2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cap="none" spc="0">
                          <a:ln w="0"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43366577"/>
                  </a:ext>
                </a:extLst>
              </a:tr>
            </a:tbl>
          </a:graphicData>
        </a:graphic>
      </p:graphicFrame>
      <p:sp>
        <p:nvSpPr>
          <p:cNvPr id="36" name="Rectangle 35">
            <a:extLst>
              <a:ext uri="{FF2B5EF4-FFF2-40B4-BE49-F238E27FC236}">
                <a16:creationId xmlns:a16="http://schemas.microsoft.com/office/drawing/2014/main" id="{4F53AC9C-4B12-4C35-82D3-61A7F4F11D2C}"/>
              </a:ext>
            </a:extLst>
          </p:cNvPr>
          <p:cNvSpPr/>
          <p:nvPr/>
        </p:nvSpPr>
        <p:spPr>
          <a:xfrm>
            <a:off x="6717079" y="5568296"/>
            <a:ext cx="614808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T</a:t>
            </a:r>
          </a:p>
        </p:txBody>
      </p:sp>
      <p:sp>
        <p:nvSpPr>
          <p:cNvPr id="7" name="Arrow: Right 6">
            <a:extLst>
              <a:ext uri="{FF2B5EF4-FFF2-40B4-BE49-F238E27FC236}">
                <a16:creationId xmlns:a16="http://schemas.microsoft.com/office/drawing/2014/main" id="{DCB38CB2-5959-4DA0-AE78-4E9DD4FD2892}"/>
              </a:ext>
            </a:extLst>
          </p:cNvPr>
          <p:cNvSpPr/>
          <p:nvPr/>
        </p:nvSpPr>
        <p:spPr>
          <a:xfrm>
            <a:off x="916905" y="3760305"/>
            <a:ext cx="928066" cy="547411"/>
          </a:xfrm>
          <a:prstGeom prst="rightArrow">
            <a:avLst/>
          </a:prstGeom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1B9E493-B574-4C00-9261-17FBFBC229C6}"/>
              </a:ext>
            </a:extLst>
          </p:cNvPr>
          <p:cNvSpPr/>
          <p:nvPr/>
        </p:nvSpPr>
        <p:spPr>
          <a:xfrm>
            <a:off x="4035631" y="3806479"/>
            <a:ext cx="639477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E433366-8834-45C8-91FF-F4FC598BD536}"/>
              </a:ext>
            </a:extLst>
          </p:cNvPr>
          <p:cNvSpPr/>
          <p:nvPr/>
        </p:nvSpPr>
        <p:spPr>
          <a:xfrm>
            <a:off x="4035630" y="4392714"/>
            <a:ext cx="639477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8B05E2BF-52B4-4231-AD4E-FE850CD2E36E}"/>
              </a:ext>
            </a:extLst>
          </p:cNvPr>
          <p:cNvSpPr/>
          <p:nvPr/>
        </p:nvSpPr>
        <p:spPr>
          <a:xfrm>
            <a:off x="4719340" y="4392714"/>
            <a:ext cx="639477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93079DC-4AB4-45E4-BE23-AA0A4F5C8007}"/>
              </a:ext>
            </a:extLst>
          </p:cNvPr>
          <p:cNvSpPr/>
          <p:nvPr/>
        </p:nvSpPr>
        <p:spPr>
          <a:xfrm>
            <a:off x="5382527" y="4392632"/>
            <a:ext cx="595535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92877A1-4E92-4B92-8A86-A733CFE39CCC}"/>
              </a:ext>
            </a:extLst>
          </p:cNvPr>
          <p:cNvSpPr/>
          <p:nvPr/>
        </p:nvSpPr>
        <p:spPr>
          <a:xfrm>
            <a:off x="4035630" y="4978949"/>
            <a:ext cx="639477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DB1F415-63E7-4B09-A588-3EE05CD508AD}"/>
              </a:ext>
            </a:extLst>
          </p:cNvPr>
          <p:cNvSpPr/>
          <p:nvPr/>
        </p:nvSpPr>
        <p:spPr>
          <a:xfrm>
            <a:off x="4719340" y="4978948"/>
            <a:ext cx="639476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F 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67AA911E-200C-4D1E-AEDC-900E24648A5A}"/>
              </a:ext>
            </a:extLst>
          </p:cNvPr>
          <p:cNvSpPr/>
          <p:nvPr/>
        </p:nvSpPr>
        <p:spPr>
          <a:xfrm>
            <a:off x="5382527" y="4978947"/>
            <a:ext cx="639476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F 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6BDC36AD-C902-4E5D-A57B-30E3A83CFFB4}"/>
              </a:ext>
            </a:extLst>
          </p:cNvPr>
          <p:cNvSpPr/>
          <p:nvPr/>
        </p:nvSpPr>
        <p:spPr>
          <a:xfrm>
            <a:off x="6045080" y="4978947"/>
            <a:ext cx="639476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F 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76F326A9-030C-4E45-B17C-DC7B6DC77A7D}"/>
              </a:ext>
            </a:extLst>
          </p:cNvPr>
          <p:cNvSpPr/>
          <p:nvPr/>
        </p:nvSpPr>
        <p:spPr>
          <a:xfrm>
            <a:off x="6707633" y="4978947"/>
            <a:ext cx="639476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F 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A567E85-FFEC-4A80-AAC3-1BE3FB9F6161}"/>
              </a:ext>
            </a:extLst>
          </p:cNvPr>
          <p:cNvSpPr/>
          <p:nvPr/>
        </p:nvSpPr>
        <p:spPr>
          <a:xfrm>
            <a:off x="4035630" y="5565183"/>
            <a:ext cx="639477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5185B1BE-B27D-4052-99D1-BD4CC2003BE5}"/>
              </a:ext>
            </a:extLst>
          </p:cNvPr>
          <p:cNvSpPr/>
          <p:nvPr/>
        </p:nvSpPr>
        <p:spPr>
          <a:xfrm>
            <a:off x="4719340" y="5565182"/>
            <a:ext cx="639476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F 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B33FB5F-ACD9-4540-A889-A94812B26A9D}"/>
              </a:ext>
            </a:extLst>
          </p:cNvPr>
          <p:cNvSpPr/>
          <p:nvPr/>
        </p:nvSpPr>
        <p:spPr>
          <a:xfrm>
            <a:off x="5382527" y="5565181"/>
            <a:ext cx="639476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F 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EB492057-63AC-4500-B947-13643CF54D24}"/>
              </a:ext>
            </a:extLst>
          </p:cNvPr>
          <p:cNvSpPr/>
          <p:nvPr/>
        </p:nvSpPr>
        <p:spPr>
          <a:xfrm>
            <a:off x="6045080" y="5565181"/>
            <a:ext cx="639476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F 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3667F52F-3730-4A9F-A2E7-9F479A55AE69}"/>
              </a:ext>
            </a:extLst>
          </p:cNvPr>
          <p:cNvSpPr/>
          <p:nvPr/>
        </p:nvSpPr>
        <p:spPr>
          <a:xfrm>
            <a:off x="6707633" y="5565181"/>
            <a:ext cx="639476" cy="547411"/>
          </a:xfrm>
          <a:prstGeom prst="rect">
            <a:avLst/>
          </a:prstGeom>
          <a:solidFill>
            <a:srgbClr val="EEE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F 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8D4E397A-0A3D-4340-9C8C-6E225DFE3CE5}"/>
              </a:ext>
            </a:extLst>
          </p:cNvPr>
          <p:cNvSpPr txBox="1">
            <a:spLocks/>
          </p:cNvSpPr>
          <p:nvPr/>
        </p:nvSpPr>
        <p:spPr>
          <a:xfrm>
            <a:off x="7837896" y="3429000"/>
            <a:ext cx="3556935" cy="15499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4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457200" marR="0" lvl="1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914400" marR="0" lvl="2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18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371600" marR="0" lvl="3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1828800" marR="0" lvl="4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286000" marR="0" lvl="5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2743200" marR="0" lvl="6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200400" marR="0" lvl="7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3657600" marR="0" lvl="8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/>
              <a:t>Xét tập con {1}: </a:t>
            </a:r>
          </a:p>
          <a:p>
            <a:pPr algn="l"/>
            <a:r>
              <a:rPr lang="en-US"/>
              <a:t>Tập tổng các phần tử có thể có ở trong tập con này là 1</a:t>
            </a:r>
          </a:p>
          <a:p>
            <a:pPr marL="342900" indent="-342900" algn="l">
              <a:buFont typeface="Symbol" panose="05050102010706020507" pitchFamily="18" charset="2"/>
              <a:buChar char="Þ"/>
            </a:pPr>
            <a:endParaRPr lang="en-US"/>
          </a:p>
        </p:txBody>
      </p:sp>
      <p:sp>
        <p:nvSpPr>
          <p:cNvPr id="37" name="Subtitle 2">
            <a:extLst>
              <a:ext uri="{FF2B5EF4-FFF2-40B4-BE49-F238E27FC236}">
                <a16:creationId xmlns:a16="http://schemas.microsoft.com/office/drawing/2014/main" id="{1B37E052-1691-4F1C-AD57-DD1DB2CBCDA0}"/>
              </a:ext>
            </a:extLst>
          </p:cNvPr>
          <p:cNvSpPr txBox="1">
            <a:spLocks/>
          </p:cNvSpPr>
          <p:nvPr/>
        </p:nvSpPr>
        <p:spPr>
          <a:xfrm>
            <a:off x="7837896" y="3424734"/>
            <a:ext cx="3753882" cy="17659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4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457200" marR="0" lvl="1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914400" marR="0" lvl="2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18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371600" marR="0" lvl="3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1828800" marR="0" lvl="4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286000" marR="0" lvl="5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2743200" marR="0" lvl="6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200400" marR="0" lvl="7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3657600" marR="0" lvl="8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/>
              <a:t>Xét tập con {1, 2}: </a:t>
            </a:r>
          </a:p>
          <a:p>
            <a:pPr algn="l"/>
            <a:r>
              <a:rPr lang="en-US"/>
              <a:t>Tập tổng có thể có ở trong tập con này là 1, 2, 3</a:t>
            </a:r>
          </a:p>
        </p:txBody>
      </p:sp>
      <p:sp>
        <p:nvSpPr>
          <p:cNvPr id="38" name="Subtitle 2">
            <a:extLst>
              <a:ext uri="{FF2B5EF4-FFF2-40B4-BE49-F238E27FC236}">
                <a16:creationId xmlns:a16="http://schemas.microsoft.com/office/drawing/2014/main" id="{6E5012C3-AF35-4D89-8139-E2ED86D3DA80}"/>
              </a:ext>
            </a:extLst>
          </p:cNvPr>
          <p:cNvSpPr txBox="1">
            <a:spLocks/>
          </p:cNvSpPr>
          <p:nvPr/>
        </p:nvSpPr>
        <p:spPr>
          <a:xfrm>
            <a:off x="7837896" y="3424734"/>
            <a:ext cx="3753882" cy="17659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4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457200" marR="0" lvl="1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914400" marR="0" lvl="2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18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371600" marR="0" lvl="3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1828800" marR="0" lvl="4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286000" marR="0" lvl="5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2743200" marR="0" lvl="6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200400" marR="0" lvl="7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3657600" marR="0" lvl="8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/>
              <a:t>Xét tập con {1, 2, 3}: </a:t>
            </a:r>
          </a:p>
          <a:p>
            <a:pPr algn="l"/>
            <a:r>
              <a:rPr lang="en-US"/>
              <a:t>Tập tổng có thể có ở trong tập con là 1, 2, 3, 4, 5, 6</a:t>
            </a:r>
          </a:p>
        </p:txBody>
      </p:sp>
      <p:sp>
        <p:nvSpPr>
          <p:cNvPr id="39" name="Subtitle 2">
            <a:extLst>
              <a:ext uri="{FF2B5EF4-FFF2-40B4-BE49-F238E27FC236}">
                <a16:creationId xmlns:a16="http://schemas.microsoft.com/office/drawing/2014/main" id="{B9035511-EEDE-4195-9CE5-FCAD37DDCD5B}"/>
              </a:ext>
            </a:extLst>
          </p:cNvPr>
          <p:cNvSpPr txBox="1">
            <a:spLocks/>
          </p:cNvSpPr>
          <p:nvPr/>
        </p:nvSpPr>
        <p:spPr>
          <a:xfrm>
            <a:off x="7837896" y="3424734"/>
            <a:ext cx="3753882" cy="17659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4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457200" marR="0" lvl="1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914400" marR="0" lvl="2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18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371600" marR="0" lvl="3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1828800" marR="0" lvl="4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286000" marR="0" lvl="5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2743200" marR="0" lvl="6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200400" marR="0" lvl="7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3657600" marR="0" lvl="8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/>
              <a:t>Xét tập con {1, 2, 3, 4}:</a:t>
            </a:r>
          </a:p>
          <a:p>
            <a:pPr algn="l"/>
            <a:r>
              <a:rPr lang="en-US"/>
              <a:t>Để ý thấy tập tổng của các tập con trước có mặt ở tập tổng của các tập con sau</a:t>
            </a:r>
          </a:p>
        </p:txBody>
      </p:sp>
      <p:sp>
        <p:nvSpPr>
          <p:cNvPr id="8" name="Arrow: Left 7">
            <a:extLst>
              <a:ext uri="{FF2B5EF4-FFF2-40B4-BE49-F238E27FC236}">
                <a16:creationId xmlns:a16="http://schemas.microsoft.com/office/drawing/2014/main" id="{8E73A712-F6BF-4B8C-AA49-52C853FAE877}"/>
              </a:ext>
            </a:extLst>
          </p:cNvPr>
          <p:cNvSpPr/>
          <p:nvPr/>
        </p:nvSpPr>
        <p:spPr>
          <a:xfrm>
            <a:off x="7532539" y="5524472"/>
            <a:ext cx="1212200" cy="781879"/>
          </a:xfrm>
          <a:prstGeom prst="leftArrow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chemeClr val="tx1"/>
                </a:solidFill>
              </a:rPr>
              <a:t>Kết quả</a:t>
            </a:r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43E8D4E4-693D-4806-97BB-BB374A71E5E8}"/>
              </a:ext>
            </a:extLst>
          </p:cNvPr>
          <p:cNvSpPr txBox="1">
            <a:spLocks/>
          </p:cNvSpPr>
          <p:nvPr/>
        </p:nvSpPr>
        <p:spPr>
          <a:xfrm>
            <a:off x="7837896" y="3424734"/>
            <a:ext cx="3753882" cy="14967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4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457200" marR="0" lvl="1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914400" marR="0" lvl="2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18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371600" marR="0" lvl="3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1828800" marR="0" lvl="4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286000" marR="0" lvl="5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2743200" marR="0" lvl="6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200400" marR="0" lvl="7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3657600" marR="0" lvl="8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/>
              <a:t>Dấu  hiệu của bài toán quy hoạch động</a:t>
            </a:r>
          </a:p>
          <a:p>
            <a:pPr algn="l"/>
            <a:r>
              <a:rPr lang="en-US">
                <a:sym typeface="Wingdings" panose="05000000000000000000" pitchFamily="2" charset="2"/>
              </a:rPr>
              <a:t> Bài toán quy hoạch động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89642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42" presetClass="path" presetSubtype="0" accel="50000" decel="5000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25E-6 -4.44444E-6 L -0.00221 0.09237 " pathEditMode="relative" rAng="0" ptsTypes="AA">
                                      <p:cBhvr>
                                        <p:cTn id="70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17" y="4606"/>
                                    </p:animMotion>
                                  </p:childTnLst>
                                </p:cTn>
                              </p:par>
                              <p:par>
                                <p:cTn id="7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8" fill="hold">
                      <p:stCondLst>
                        <p:cond delay="indefinite"/>
                      </p:stCondLst>
                      <p:childTnLst>
                        <p:par>
                          <p:cTn id="79" fill="hold">
                            <p:stCondLst>
                              <p:cond delay="0"/>
                            </p:stCondLst>
                            <p:childTnLst>
                              <p:par>
                                <p:cTn id="80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4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6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9" fill="hold">
                      <p:stCondLst>
                        <p:cond delay="indefinite"/>
                      </p:stCondLst>
                      <p:childTnLst>
                        <p:par>
                          <p:cTn id="90" fill="hold">
                            <p:stCondLst>
                              <p:cond delay="0"/>
                            </p:stCondLst>
                            <p:childTnLst>
                              <p:par>
                                <p:cTn id="91" presetID="42" presetClass="path" presetSubtype="0" accel="50000" decel="5000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221 0.09236 L -0.00221 0.17801 " pathEditMode="relative" rAng="0" ptsTypes="AA">
                                      <p:cBhvr>
                                        <p:cTn id="92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981"/>
                                    </p:animMotion>
                                  </p:childTnLst>
                                </p:cTn>
                              </p:par>
                              <p:par>
                                <p:cTn id="93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4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6" fill="hold">
                      <p:stCondLst>
                        <p:cond delay="indefinite"/>
                      </p:stCondLst>
                      <p:childTnLst>
                        <p:par>
                          <p:cTn id="97" fill="hold">
                            <p:stCondLst>
                              <p:cond delay="0"/>
                            </p:stCondLst>
                            <p:childTnLst>
                              <p:par>
                                <p:cTn id="9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1" fill="hold">
                      <p:stCondLst>
                        <p:cond delay="indefinite"/>
                      </p:stCondLst>
                      <p:childTnLst>
                        <p:par>
                          <p:cTn id="102" fill="hold">
                            <p:stCondLst>
                              <p:cond delay="0"/>
                            </p:stCondLst>
                            <p:childTnLst>
                              <p:par>
                                <p:cTn id="103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4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6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9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2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3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5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6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8" fill="hold">
                      <p:stCondLst>
                        <p:cond delay="indefinite"/>
                      </p:stCondLst>
                      <p:childTnLst>
                        <p:par>
                          <p:cTn id="119" fill="hold">
                            <p:stCondLst>
                              <p:cond delay="0"/>
                            </p:stCondLst>
                            <p:childTnLst>
                              <p:par>
                                <p:cTn id="120" presetID="42" presetClass="path" presetSubtype="0" accel="50000" decel="50000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221 0.17801 L -0.00221 0.26389 " pathEditMode="relative" rAng="0" ptsTypes="AA">
                                      <p:cBhvr>
                                        <p:cTn id="121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981"/>
                                    </p:animMotion>
                                  </p:childTnLst>
                                </p:cTn>
                              </p:par>
                              <p:par>
                                <p:cTn id="122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3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5" fill="hold">
                      <p:stCondLst>
                        <p:cond delay="indefinite"/>
                      </p:stCondLst>
                      <p:childTnLst>
                        <p:par>
                          <p:cTn id="126" fill="hold">
                            <p:stCondLst>
                              <p:cond delay="0"/>
                            </p:stCondLst>
                            <p:childTnLst>
                              <p:par>
                                <p:cTn id="1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9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0" fill="hold">
                      <p:stCondLst>
                        <p:cond delay="indefinite"/>
                      </p:stCondLst>
                      <p:childTnLst>
                        <p:par>
                          <p:cTn id="131" fill="hold">
                            <p:stCondLst>
                              <p:cond delay="0"/>
                            </p:stCondLst>
                            <p:childTnLst>
                              <p:par>
                                <p:cTn id="132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3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5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6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8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9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1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2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4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5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7" fill="hold">
                      <p:stCondLst>
                        <p:cond delay="indefinite"/>
                      </p:stCondLst>
                      <p:childTnLst>
                        <p:par>
                          <p:cTn id="148" fill="hold">
                            <p:stCondLst>
                              <p:cond delay="0"/>
                            </p:stCondLst>
                            <p:childTnLst>
                              <p:par>
                                <p:cTn id="149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0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4" fill="hold">
                      <p:stCondLst>
                        <p:cond delay="indefinite"/>
                      </p:stCondLst>
                      <p:childTnLst>
                        <p:par>
                          <p:cTn id="155" fill="hold">
                            <p:stCondLst>
                              <p:cond delay="0"/>
                            </p:stCondLst>
                            <p:childTnLst>
                              <p:par>
                                <p:cTn id="156" presetID="1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57" dur="2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9CB07"/>
                                      </p:to>
                                    </p:animClr>
                                    <p:set>
                                      <p:cBhvr>
                                        <p:cTn id="158" dur="2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59" dur="2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4" fill="hold">
                      <p:stCondLst>
                        <p:cond delay="indefinite"/>
                      </p:stCondLst>
                      <p:childTnLst>
                        <p:par>
                          <p:cTn id="165" fill="hold">
                            <p:stCondLst>
                              <p:cond delay="0"/>
                            </p:stCondLst>
                            <p:childTnLst>
                              <p:par>
                                <p:cTn id="166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68" dur="500"/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9" fill="hold">
                      <p:stCondLst>
                        <p:cond delay="indefinite"/>
                      </p:stCondLst>
                      <p:childTnLst>
                        <p:par>
                          <p:cTn id="170" fill="hold">
                            <p:stCondLst>
                              <p:cond delay="0"/>
                            </p:stCondLst>
                            <p:childTnLst>
                              <p:par>
                                <p:cTn id="171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3" dur="500"/>
                                        <p:tgtEl>
                                          <p:spTgt spid="4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4" grpId="0"/>
      <p:bldP spid="36" grpId="0" animBg="1"/>
      <p:bldP spid="7" grpId="0" animBg="1"/>
      <p:bldP spid="7" grpId="1" animBg="1"/>
      <p:bldP spid="7" grpId="2" animBg="1"/>
      <p:bldP spid="7" grpId="3" animBg="1"/>
      <p:bldP spid="18" grpId="0" animBg="1"/>
      <p:bldP spid="18" grpId="1" animBg="1"/>
      <p:bldP spid="19" grpId="0" animBg="1"/>
      <p:bldP spid="19" grpId="1" animBg="1"/>
      <p:bldP spid="21" grpId="0" animBg="1"/>
      <p:bldP spid="21" grpId="1" animBg="1"/>
      <p:bldP spid="23" grpId="0" animBg="1"/>
      <p:bldP spid="23" grpId="1" animBg="1"/>
      <p:bldP spid="24" grpId="0" animBg="1"/>
      <p:bldP spid="24" grpId="1" animBg="1"/>
      <p:bldP spid="25" grpId="0" animBg="1"/>
      <p:bldP spid="25" grpId="1" animBg="1"/>
      <p:bldP spid="27" grpId="0" animBg="1"/>
      <p:bldP spid="27" grpId="1" animBg="1"/>
      <p:bldP spid="29" grpId="0" animBg="1"/>
      <p:bldP spid="29" grpId="1" animBg="1"/>
      <p:bldP spid="30" grpId="0" animBg="1"/>
      <p:bldP spid="30" grpId="1" animBg="1"/>
      <p:bldP spid="31" grpId="0" animBg="1"/>
      <p:bldP spid="31" grpId="1" animBg="1"/>
      <p:bldP spid="32" grpId="0" animBg="1"/>
      <p:bldP spid="32" grpId="1" animBg="1"/>
      <p:bldP spid="33" grpId="0" animBg="1"/>
      <p:bldP spid="33" grpId="1" animBg="1"/>
      <p:bldP spid="34" grpId="0" animBg="1"/>
      <p:bldP spid="34" grpId="1" animBg="1"/>
      <p:bldP spid="35" grpId="0" animBg="1"/>
      <p:bldP spid="35" grpId="1" animBg="1"/>
      <p:bldP spid="28" grpId="0"/>
      <p:bldP spid="28" grpId="1"/>
      <p:bldP spid="37" grpId="0"/>
      <p:bldP spid="37" grpId="1"/>
      <p:bldP spid="38" grpId="0"/>
      <p:bldP spid="38" grpId="1"/>
      <p:bldP spid="39" grpId="0"/>
      <p:bldP spid="39" grpId="1"/>
      <p:bldP spid="8" grpId="0" animBg="1"/>
      <p:bldP spid="40" grpId="0" build="p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EB31B8BF-1768-41AD-979A-58C78471AB0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49238" y="1669772"/>
            <a:ext cx="10252431" cy="4916558"/>
          </a:xfrm>
        </p:spPr>
        <p:txBody>
          <a:bodyPr/>
          <a:lstStyle/>
          <a:p>
            <a:pPr marL="0" algn="l">
              <a:spcBef>
                <a:spcPts val="0"/>
              </a:spcBef>
              <a:spcAft>
                <a:spcPts val="0"/>
              </a:spcAft>
            </a:pPr>
            <a:r>
              <a:rPr lang="vi-VN" sz="1800">
                <a:effectLst/>
                <a:latin typeface="Consolas" panose="020B0609020204030204" pitchFamily="49" charset="0"/>
                <a:ea typeface="Calibri" panose="020F0502020204030204" pitchFamily="34" charset="0"/>
                <a:cs typeface="Times New Roman" panose="02020603050405020304" pitchFamily="18" charset="0"/>
              </a:rPr>
              <a:t>input mảng </a:t>
            </a:r>
            <a:endParaRPr lang="en-US" sz="1800">
              <a:effectLst/>
              <a:latin typeface="Consolas" panose="020B0609020204030204" pitchFamily="49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algn="l">
              <a:spcBef>
                <a:spcPts val="0"/>
              </a:spcBef>
              <a:spcAft>
                <a:spcPts val="0"/>
              </a:spcAft>
            </a:pPr>
            <a:r>
              <a:rPr lang="vi-VN" sz="1800">
                <a:effectLst/>
                <a:latin typeface="Consolas" panose="020B0609020204030204" pitchFamily="49" charset="0"/>
                <a:ea typeface="Calibri" panose="020F0502020204030204" pitchFamily="34" charset="0"/>
                <a:cs typeface="Times New Roman" panose="02020603050405020304" pitchFamily="18" charset="0"/>
              </a:rPr>
              <a:t>If</a:t>
            </a:r>
            <a:r>
              <a:rPr lang="en-US" sz="1800">
                <a:effectLst/>
                <a:latin typeface="Consolas" panose="020B0609020204030204" pitchFamily="49" charset="0"/>
                <a:ea typeface="Calibri" panose="020F0502020204030204" pitchFamily="34" charset="0"/>
                <a:cs typeface="Times New Roman" panose="02020603050405020304" pitchFamily="18" charset="0"/>
              </a:rPr>
              <a:t> Tổng</a:t>
            </a:r>
            <a:r>
              <a:rPr lang="vi-VN" sz="1800">
                <a:effectLst/>
                <a:latin typeface="Consolas" panose="020B0609020204030204" pitchFamily="49" charset="0"/>
                <a:ea typeface="Calibri" panose="020F0502020204030204" pitchFamily="34" charset="0"/>
                <a:cs typeface="Times New Roman" panose="02020603050405020304" pitchFamily="18" charset="0"/>
              </a:rPr>
              <a:t> mảng % 2 != 0:</a:t>
            </a:r>
            <a:endParaRPr lang="en-US" sz="1800">
              <a:effectLst/>
              <a:latin typeface="Consolas" panose="020B0609020204030204" pitchFamily="49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algn="l">
              <a:spcBef>
                <a:spcPts val="0"/>
              </a:spcBef>
              <a:spcAft>
                <a:spcPts val="0"/>
              </a:spcAft>
            </a:pPr>
            <a:r>
              <a:rPr lang="vi-VN" sz="1800">
                <a:effectLst/>
                <a:latin typeface="Consolas" panose="020B0609020204030204" pitchFamily="49" charset="0"/>
                <a:ea typeface="Calibri" panose="020F0502020204030204" pitchFamily="34" charset="0"/>
                <a:cs typeface="Times New Roman" panose="02020603050405020304" pitchFamily="18" charset="0"/>
              </a:rPr>
              <a:t>     Then return False</a:t>
            </a:r>
            <a:endParaRPr lang="en-US" sz="1800">
              <a:effectLst/>
              <a:latin typeface="Consolas" panose="020B0609020204030204" pitchFamily="49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algn="l">
              <a:spcBef>
                <a:spcPts val="0"/>
              </a:spcBef>
              <a:spcAft>
                <a:spcPts val="0"/>
              </a:spcAft>
            </a:pPr>
            <a:r>
              <a:rPr lang="vi-VN" sz="1800">
                <a:effectLst/>
                <a:latin typeface="Consolas" panose="020B0609020204030204" pitchFamily="49" charset="0"/>
                <a:ea typeface="Calibri" panose="020F0502020204030204" pitchFamily="34" charset="0"/>
                <a:cs typeface="Times New Roman" panose="02020603050405020304" pitchFamily="18" charset="0"/>
              </a:rPr>
              <a:t>Tổngnửamảng = Tổng mảng /2</a:t>
            </a:r>
            <a:endParaRPr lang="en-US" sz="1800">
              <a:effectLst/>
              <a:latin typeface="Consolas" panose="020B0609020204030204" pitchFamily="49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algn="l">
              <a:spcBef>
                <a:spcPts val="0"/>
              </a:spcBef>
              <a:spcAft>
                <a:spcPts val="0"/>
              </a:spcAft>
              <a:tabLst>
                <a:tab pos="1435100" algn="l"/>
              </a:tabLst>
            </a:pPr>
            <a:r>
              <a:rPr lang="vi-VN" sz="1800">
                <a:effectLst/>
                <a:latin typeface="Consolas" panose="020B0609020204030204" pitchFamily="49" charset="0"/>
                <a:ea typeface="Calibri" panose="020F0502020204030204" pitchFamily="34" charset="0"/>
                <a:cs typeface="Times New Roman" panose="02020603050405020304" pitchFamily="18" charset="0"/>
              </a:rPr>
              <a:t>Matrix = [[False for x range ( Tổngnửamảng +1 ) for y in range (len(mảng)) ] </a:t>
            </a:r>
            <a:endParaRPr lang="en-US" sz="1800">
              <a:effectLst/>
              <a:latin typeface="Consolas" panose="020B0609020204030204" pitchFamily="49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algn="l">
              <a:spcBef>
                <a:spcPts val="0"/>
              </a:spcBef>
              <a:spcAft>
                <a:spcPts val="0"/>
              </a:spcAft>
              <a:tabLst>
                <a:tab pos="1435100" algn="l"/>
              </a:tabLst>
            </a:pPr>
            <a:r>
              <a:rPr lang="vi-VN" sz="1800">
                <a:effectLst/>
                <a:latin typeface="Consolas" panose="020B0609020204030204" pitchFamily="49" charset="0"/>
                <a:ea typeface="Calibri" panose="020F0502020204030204" pitchFamily="34" charset="0"/>
                <a:cs typeface="Times New Roman" panose="02020603050405020304" pitchFamily="18" charset="0"/>
              </a:rPr>
              <a:t>For i in range(0, n)</a:t>
            </a:r>
            <a:endParaRPr lang="en-US" sz="1800">
              <a:effectLst/>
              <a:latin typeface="Consolas" panose="020B0609020204030204" pitchFamily="49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algn="l">
              <a:spcBef>
                <a:spcPts val="0"/>
              </a:spcBef>
              <a:spcAft>
                <a:spcPts val="0"/>
              </a:spcAft>
              <a:tabLst>
                <a:tab pos="1435100" algn="l"/>
              </a:tabLst>
            </a:pPr>
            <a:r>
              <a:rPr lang="vi-VN" sz="1800">
                <a:effectLst/>
                <a:latin typeface="Consolas" panose="020B0609020204030204" pitchFamily="49" charset="0"/>
                <a:ea typeface="Calibri" panose="020F0502020204030204" pitchFamily="34" charset="0"/>
                <a:cs typeface="Times New Roman" panose="02020603050405020304" pitchFamily="18" charset="0"/>
              </a:rPr>
              <a:t>    Matrix[i][0] = True</a:t>
            </a:r>
            <a:endParaRPr lang="en-US" sz="1800">
              <a:effectLst/>
              <a:latin typeface="Consolas" panose="020B0609020204030204" pitchFamily="49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algn="l">
              <a:spcBef>
                <a:spcPts val="0"/>
              </a:spcBef>
              <a:spcAft>
                <a:spcPts val="0"/>
              </a:spcAft>
              <a:tabLst>
                <a:tab pos="1435100" algn="l"/>
              </a:tabLst>
            </a:pPr>
            <a:r>
              <a:rPr lang="vi-VN" sz="1800">
                <a:effectLst/>
                <a:latin typeface="Consolas" panose="020B0609020204030204" pitchFamily="49" charset="0"/>
                <a:ea typeface="Calibri" panose="020F0502020204030204" pitchFamily="34" charset="0"/>
                <a:cs typeface="Times New Roman" panose="02020603050405020304" pitchFamily="18" charset="0"/>
              </a:rPr>
              <a:t>For j range (1, Tổngnửamảng +1):</a:t>
            </a:r>
            <a:endParaRPr lang="en-US" sz="1800">
              <a:effectLst/>
              <a:latin typeface="Consolas" panose="020B0609020204030204" pitchFamily="49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algn="l">
              <a:spcBef>
                <a:spcPts val="0"/>
              </a:spcBef>
              <a:spcAft>
                <a:spcPts val="0"/>
              </a:spcAft>
              <a:tabLst>
                <a:tab pos="1435100" algn="l"/>
              </a:tabLst>
            </a:pPr>
            <a:r>
              <a:rPr lang="vi-VN" sz="1800">
                <a:effectLst/>
                <a:latin typeface="Consolas" panose="020B0609020204030204" pitchFamily="49" charset="0"/>
                <a:ea typeface="Calibri" panose="020F0502020204030204" pitchFamily="34" charset="0"/>
                <a:cs typeface="Times New Roman" panose="02020603050405020304" pitchFamily="18" charset="0"/>
              </a:rPr>
              <a:t>   Matrix[0][j] = Mảng[0] == j</a:t>
            </a:r>
            <a:endParaRPr lang="en-US" sz="1800">
              <a:effectLst/>
              <a:latin typeface="Consolas" panose="020B0609020204030204" pitchFamily="49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l">
              <a:spcBef>
                <a:spcPts val="0"/>
              </a:spcBef>
              <a:spcAft>
                <a:spcPts val="0"/>
              </a:spcAft>
            </a:pPr>
            <a:r>
              <a:rPr lang="en-GB" sz="1800">
                <a:effectLst/>
                <a:latin typeface="Consolas" panose="020B0609020204030204" pitchFamily="49" charset="0"/>
                <a:ea typeface="Calibri" panose="020F0502020204030204" pitchFamily="34" charset="0"/>
                <a:cs typeface="AppleSystemUIFont"/>
              </a:rPr>
              <a:t>for </a:t>
            </a:r>
            <a:r>
              <a:rPr lang="vi-VN" sz="1800">
                <a:effectLst/>
                <a:latin typeface="Consolas" panose="020B0609020204030204" pitchFamily="49" charset="0"/>
                <a:ea typeface="Calibri" panose="020F0502020204030204" pitchFamily="34" charset="0"/>
                <a:cs typeface="AppleSystemUIFont"/>
              </a:rPr>
              <a:t>i </a:t>
            </a:r>
            <a:r>
              <a:rPr lang="en-GB" sz="1800">
                <a:effectLst/>
                <a:latin typeface="Consolas" panose="020B0609020204030204" pitchFamily="49" charset="0"/>
                <a:ea typeface="Calibri" panose="020F0502020204030204" pitchFamily="34" charset="0"/>
                <a:cs typeface="AppleSystemUIFont"/>
              </a:rPr>
              <a:t>in range (1, n):</a:t>
            </a:r>
            <a:endParaRPr lang="en-US" sz="1800">
              <a:effectLst/>
              <a:latin typeface="Consolas" panose="020B0609020204030204" pitchFamily="49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l">
              <a:spcBef>
                <a:spcPts val="0"/>
              </a:spcBef>
              <a:spcAft>
                <a:spcPts val="0"/>
              </a:spcAft>
            </a:pPr>
            <a:r>
              <a:rPr lang="en-GB" sz="1800">
                <a:effectLst/>
                <a:latin typeface="Consolas" panose="020B0609020204030204" pitchFamily="49" charset="0"/>
                <a:ea typeface="Calibri" panose="020F0502020204030204" pitchFamily="34" charset="0"/>
                <a:cs typeface="AppleSystemUIFont"/>
              </a:rPr>
              <a:t>  for j in range (1, s+1):</a:t>
            </a:r>
            <a:endParaRPr lang="en-US" sz="1800">
              <a:effectLst/>
              <a:latin typeface="Consolas" panose="020B0609020204030204" pitchFamily="49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l">
              <a:spcBef>
                <a:spcPts val="0"/>
              </a:spcBef>
              <a:spcAft>
                <a:spcPts val="0"/>
              </a:spcAft>
            </a:pPr>
            <a:r>
              <a:rPr lang="en-GB" sz="1800">
                <a:effectLst/>
                <a:latin typeface="Consolas" panose="020B0609020204030204" pitchFamily="49" charset="0"/>
                <a:ea typeface="Calibri" panose="020F0502020204030204" pitchFamily="34" charset="0"/>
                <a:cs typeface="AppleSystemUIFont"/>
              </a:rPr>
              <a:t>    if </a:t>
            </a:r>
            <a:r>
              <a:rPr lang="vi-VN" sz="1800">
                <a:effectLst/>
                <a:latin typeface="Consolas" panose="020B0609020204030204" pitchFamily="49" charset="0"/>
                <a:ea typeface="Calibri" panose="020F0502020204030204" pitchFamily="34" charset="0"/>
                <a:cs typeface="AppleSystemUIFont"/>
              </a:rPr>
              <a:t>M</a:t>
            </a:r>
            <a:r>
              <a:rPr lang="en-GB" sz="1800">
                <a:effectLst/>
                <a:latin typeface="Consolas" panose="020B0609020204030204" pitchFamily="49" charset="0"/>
                <a:ea typeface="Calibri" panose="020F0502020204030204" pitchFamily="34" charset="0"/>
                <a:cs typeface="AppleSystemUIFont"/>
              </a:rPr>
              <a:t>atrix [</a:t>
            </a:r>
            <a:r>
              <a:rPr lang="vi-VN" sz="1800">
                <a:effectLst/>
                <a:latin typeface="Consolas" panose="020B0609020204030204" pitchFamily="49" charset="0"/>
                <a:ea typeface="Calibri" panose="020F0502020204030204" pitchFamily="34" charset="0"/>
                <a:cs typeface="AppleSystemUIFont"/>
              </a:rPr>
              <a:t>i </a:t>
            </a:r>
            <a:r>
              <a:rPr lang="en-GB" sz="1800">
                <a:effectLst/>
                <a:latin typeface="Consolas" panose="020B0609020204030204" pitchFamily="49" charset="0"/>
                <a:ea typeface="Calibri" panose="020F0502020204030204" pitchFamily="34" charset="0"/>
                <a:cs typeface="AppleSystemUIFont"/>
              </a:rPr>
              <a:t>- 1] [j]:</a:t>
            </a:r>
            <a:endParaRPr lang="en-US" sz="1800">
              <a:effectLst/>
              <a:latin typeface="Consolas" panose="020B0609020204030204" pitchFamily="49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l">
              <a:spcBef>
                <a:spcPts val="0"/>
              </a:spcBef>
              <a:spcAft>
                <a:spcPts val="0"/>
              </a:spcAft>
            </a:pPr>
            <a:r>
              <a:rPr lang="en-GB" sz="1800">
                <a:effectLst/>
                <a:latin typeface="Consolas" panose="020B0609020204030204" pitchFamily="49" charset="0"/>
                <a:ea typeface="Calibri" panose="020F0502020204030204" pitchFamily="34" charset="0"/>
                <a:cs typeface="AppleSystemUIFont"/>
              </a:rPr>
              <a:t>      </a:t>
            </a:r>
            <a:r>
              <a:rPr lang="vi-VN" sz="1800">
                <a:effectLst/>
                <a:latin typeface="Consolas" panose="020B0609020204030204" pitchFamily="49" charset="0"/>
                <a:ea typeface="Calibri" panose="020F0502020204030204" pitchFamily="34" charset="0"/>
                <a:cs typeface="AppleSystemUIFont"/>
              </a:rPr>
              <a:t>T</a:t>
            </a:r>
            <a:r>
              <a:rPr lang="en-GB" sz="1800">
                <a:effectLst/>
                <a:latin typeface="Consolas" panose="020B0609020204030204" pitchFamily="49" charset="0"/>
                <a:ea typeface="Calibri" panose="020F0502020204030204" pitchFamily="34" charset="0"/>
                <a:cs typeface="AppleSystemUIFont"/>
              </a:rPr>
              <a:t>hen Matrix [i][j] = Matrix [i - 1] [j]</a:t>
            </a:r>
            <a:endParaRPr lang="en-US" sz="1800">
              <a:effectLst/>
              <a:latin typeface="Consolas" panose="020B0609020204030204" pitchFamily="49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l">
              <a:spcBef>
                <a:spcPts val="0"/>
              </a:spcBef>
              <a:spcAft>
                <a:spcPts val="0"/>
              </a:spcAft>
            </a:pPr>
            <a:r>
              <a:rPr lang="en-GB" sz="1800">
                <a:effectLst/>
                <a:latin typeface="Consolas" panose="020B0609020204030204" pitchFamily="49" charset="0"/>
                <a:ea typeface="Calibri" panose="020F0502020204030204" pitchFamily="34" charset="0"/>
                <a:cs typeface="AppleSystemUIFont"/>
              </a:rPr>
              <a:t>    Elif j &gt;= Mảng [i]:  </a:t>
            </a:r>
            <a:endParaRPr lang="en-US" sz="1800">
              <a:effectLst/>
              <a:latin typeface="Consolas" panose="020B0609020204030204" pitchFamily="49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l">
              <a:spcBef>
                <a:spcPts val="0"/>
              </a:spcBef>
              <a:spcAft>
                <a:spcPts val="0"/>
              </a:spcAft>
            </a:pPr>
            <a:r>
              <a:rPr lang="en-GB" sz="1800">
                <a:effectLst/>
                <a:latin typeface="Consolas" panose="020B0609020204030204" pitchFamily="49" charset="0"/>
                <a:ea typeface="Calibri" panose="020F0502020204030204" pitchFamily="34" charset="0"/>
                <a:cs typeface="AppleSystemUIFont"/>
              </a:rPr>
              <a:t>      The</a:t>
            </a:r>
            <a:r>
              <a:rPr lang="vi-VN" sz="1800">
                <a:effectLst/>
                <a:latin typeface="Consolas" panose="020B0609020204030204" pitchFamily="49" charset="0"/>
                <a:ea typeface="Calibri" panose="020F0502020204030204" pitchFamily="34" charset="0"/>
                <a:cs typeface="AppleSystemUIFont"/>
              </a:rPr>
              <a:t>n </a:t>
            </a:r>
            <a:r>
              <a:rPr lang="en-GB" sz="1800">
                <a:effectLst/>
                <a:latin typeface="Consolas" panose="020B0609020204030204" pitchFamily="49" charset="0"/>
                <a:ea typeface="Calibri" panose="020F0502020204030204" pitchFamily="34" charset="0"/>
                <a:cs typeface="AppleSystemUIFont"/>
              </a:rPr>
              <a:t>Matrix [i][j] = Matrix [i - 1] [j – Mảng[i]]</a:t>
            </a:r>
          </a:p>
          <a:p>
            <a:pPr marL="0" marR="0" algn="l">
              <a:spcBef>
                <a:spcPts val="0"/>
              </a:spcBef>
              <a:spcAft>
                <a:spcPts val="0"/>
              </a:spcAft>
            </a:pPr>
            <a:r>
              <a:rPr lang="en-GB" sz="1800">
                <a:latin typeface="Consolas" panose="020B0609020204030204" pitchFamily="49" charset="0"/>
                <a:ea typeface="Calibri" panose="020F0502020204030204" pitchFamily="34" charset="0"/>
                <a:cs typeface="Times New Roman" panose="02020603050405020304" pitchFamily="18" charset="0"/>
              </a:rPr>
              <a:t>return Matrix[i-1][s]</a:t>
            </a:r>
            <a:endParaRPr lang="en-US" sz="1800">
              <a:effectLst/>
              <a:latin typeface="Consolas" panose="020B0609020204030204" pitchFamily="49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42C3E942-A587-4796-BE2B-89332CAE86AC}"/>
              </a:ext>
            </a:extLst>
          </p:cNvPr>
          <p:cNvSpPr txBox="1">
            <a:spLocks/>
          </p:cNvSpPr>
          <p:nvPr/>
        </p:nvSpPr>
        <p:spPr>
          <a:xfrm>
            <a:off x="1073426" y="1122361"/>
            <a:ext cx="3750365" cy="5474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60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marR="0" lvl="1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marR="0" lvl="2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marR="0" lvl="3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marR="0" lvl="4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marR="0" lvl="5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marR="0" lvl="6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marR="0" lvl="7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marR="0" lvl="8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r>
              <a:rPr lang="en-US" sz="4000"/>
              <a:t>Bài 1: Algorithm</a:t>
            </a: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6FD1D124-D3FC-48B2-8190-06225B6CE235}"/>
              </a:ext>
            </a:extLst>
          </p:cNvPr>
          <p:cNvSpPr/>
          <p:nvPr/>
        </p:nvSpPr>
        <p:spPr>
          <a:xfrm rot="5400000">
            <a:off x="-345132" y="1024277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21137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790A2B-6095-4F44-8EA0-3CC1EA22E5A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33671" y="1122361"/>
            <a:ext cx="1934816" cy="547411"/>
          </a:xfrm>
        </p:spPr>
        <p:txBody>
          <a:bodyPr/>
          <a:lstStyle/>
          <a:p>
            <a:r>
              <a:rPr lang="en-US" sz="4000"/>
              <a:t>Bài 2: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07F680F-F140-40F4-BE08-2A125B8CE82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839499"/>
            <a:ext cx="9144000" cy="3766171"/>
          </a:xfrm>
        </p:spPr>
        <p:txBody>
          <a:bodyPr/>
          <a:lstStyle/>
          <a:p>
            <a:pPr marL="0" marR="0" algn="just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Q là 1 sinh viên ĐH. Có ngày Q ph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ả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 đ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ế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 trư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ờ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g, có ngày không. Nh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ữ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g ngày Q đ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ế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 trư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ờ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g đ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ề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u ph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ả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 đi b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ằ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g xe bus. Xe bus có 3 lo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ạ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 vé như sau:</a:t>
            </a:r>
          </a:p>
          <a:p>
            <a:pPr marL="0" marR="0" algn="just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	Vé xe đi 1 ngày t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ố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 2k</a:t>
            </a:r>
            <a:endParaRPr lang="en-US" sz="2000">
              <a:solidFill>
                <a:schemeClr val="tx1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algn="just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	Vé xe đi 7 ngày t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ố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 7k</a:t>
            </a:r>
            <a:endParaRPr lang="en-US" sz="2000">
              <a:solidFill>
                <a:schemeClr val="tx1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algn="just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é xe đi 30 ngày t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ố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 25k</a:t>
            </a:r>
            <a:endParaRPr lang="en-US" sz="2000">
              <a:solidFill>
                <a:schemeClr val="tx1"/>
              </a:solidFill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Vì mu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ố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 ti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ế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t ki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ệ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m ti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ề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 đ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ể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đi chơi vs crush, Q đã t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ự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l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ậ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p 1 m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ả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g days g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ồ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m n ngày đư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ợ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c s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ắ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p x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ế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p theo th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ứ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t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ự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, trong đó m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ỗ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i ngày days[i] là ngày Q ph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ả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i đ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ế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 trư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ờ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g. Hãy giúp b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ạ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 Q tính đư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ợ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c s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ố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ti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ề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 ít nh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ấ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t c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ầ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 cho vi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ệ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c đi xe bus đ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ể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Q ti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ế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t ki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ệ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m ti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ề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 đi chơi vs crush nhé!</a:t>
            </a:r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BE3DCB1D-7405-485A-98A0-4D4705B2AF27}"/>
              </a:ext>
            </a:extLst>
          </p:cNvPr>
          <p:cNvSpPr/>
          <p:nvPr/>
        </p:nvSpPr>
        <p:spPr>
          <a:xfrm rot="5400000">
            <a:off x="-345132" y="1024277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" name="Bus4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8C5E685E-1286-435B-B753-826C30D3E688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9038582" y="5506107"/>
            <a:ext cx="4032135" cy="1316010"/>
            <a:chOff x="5541" y="2991"/>
            <a:chExt cx="1630" cy="532"/>
          </a:xfrm>
          <a:solidFill>
            <a:schemeClr val="accent1"/>
          </a:solidFill>
        </p:grpSpPr>
        <p:sp>
          <p:nvSpPr>
            <p:cNvPr id="6" name="Oval 242">
              <a:extLst>
                <a:ext uri="{FF2B5EF4-FFF2-40B4-BE49-F238E27FC236}">
                  <a16:creationId xmlns:a16="http://schemas.microsoft.com/office/drawing/2014/main" id="{03189CE9-36BD-40DE-9858-B46C740622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45" y="3363"/>
              <a:ext cx="158" cy="158"/>
            </a:xfrm>
            <a:prstGeom prst="ellipse">
              <a:avLst/>
            </a:prstGeom>
            <a:grpFill/>
            <a:ln w="11113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" name="Oval 243">
              <a:extLst>
                <a:ext uri="{FF2B5EF4-FFF2-40B4-BE49-F238E27FC236}">
                  <a16:creationId xmlns:a16="http://schemas.microsoft.com/office/drawing/2014/main" id="{BDAE2BDC-DD6E-4D9D-AEE0-B1B1FCA693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81" y="3400"/>
              <a:ext cx="85" cy="85"/>
            </a:xfrm>
            <a:prstGeom prst="ellipse">
              <a:avLst/>
            </a:prstGeom>
            <a:grpFill/>
            <a:ln w="11113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" name="Freeform 244">
              <a:extLst>
                <a:ext uri="{FF2B5EF4-FFF2-40B4-BE49-F238E27FC236}">
                  <a16:creationId xmlns:a16="http://schemas.microsoft.com/office/drawing/2014/main" id="{E896D4E3-1E80-4767-814C-B333D6B42E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41" y="2991"/>
              <a:ext cx="1630" cy="479"/>
            </a:xfrm>
            <a:custGeom>
              <a:avLst/>
              <a:gdLst>
                <a:gd name="T0" fmla="*/ 517 w 4727"/>
                <a:gd name="T1" fmla="*/ 244 h 1389"/>
                <a:gd name="T2" fmla="*/ 584 w 4727"/>
                <a:gd name="T3" fmla="*/ 1155 h 1389"/>
                <a:gd name="T4" fmla="*/ 350 w 4727"/>
                <a:gd name="T5" fmla="*/ 1222 h 1389"/>
                <a:gd name="T6" fmla="*/ 283 w 4727"/>
                <a:gd name="T7" fmla="*/ 311 h 1389"/>
                <a:gd name="T8" fmla="*/ 3801 w 4727"/>
                <a:gd name="T9" fmla="*/ 241 h 1389"/>
                <a:gd name="T10" fmla="*/ 4558 w 4727"/>
                <a:gd name="T11" fmla="*/ 382 h 1389"/>
                <a:gd name="T12" fmla="*/ 4491 w 4727"/>
                <a:gd name="T13" fmla="*/ 650 h 1389"/>
                <a:gd name="T14" fmla="*/ 3733 w 4727"/>
                <a:gd name="T15" fmla="*/ 583 h 1389"/>
                <a:gd name="T16" fmla="*/ 3801 w 4727"/>
                <a:gd name="T17" fmla="*/ 241 h 1389"/>
                <a:gd name="T18" fmla="*/ 3513 w 4727"/>
                <a:gd name="T19" fmla="*/ 241 h 1389"/>
                <a:gd name="T20" fmla="*/ 3580 w 4727"/>
                <a:gd name="T21" fmla="*/ 583 h 1389"/>
                <a:gd name="T22" fmla="*/ 2823 w 4727"/>
                <a:gd name="T23" fmla="*/ 650 h 1389"/>
                <a:gd name="T24" fmla="*/ 2756 w 4727"/>
                <a:gd name="T25" fmla="*/ 308 h 1389"/>
                <a:gd name="T26" fmla="*/ 1839 w 4727"/>
                <a:gd name="T27" fmla="*/ 241 h 1389"/>
                <a:gd name="T28" fmla="*/ 2597 w 4727"/>
                <a:gd name="T29" fmla="*/ 308 h 1389"/>
                <a:gd name="T30" fmla="*/ 2530 w 4727"/>
                <a:gd name="T31" fmla="*/ 650 h 1389"/>
                <a:gd name="T32" fmla="*/ 1772 w 4727"/>
                <a:gd name="T33" fmla="*/ 583 h 1389"/>
                <a:gd name="T34" fmla="*/ 1839 w 4727"/>
                <a:gd name="T35" fmla="*/ 241 h 1389"/>
                <a:gd name="T36" fmla="*/ 1543 w 4727"/>
                <a:gd name="T37" fmla="*/ 241 h 1389"/>
                <a:gd name="T38" fmla="*/ 1610 w 4727"/>
                <a:gd name="T39" fmla="*/ 583 h 1389"/>
                <a:gd name="T40" fmla="*/ 853 w 4727"/>
                <a:gd name="T41" fmla="*/ 650 h 1389"/>
                <a:gd name="T42" fmla="*/ 786 w 4727"/>
                <a:gd name="T43" fmla="*/ 308 h 1389"/>
                <a:gd name="T44" fmla="*/ 4479 w 4727"/>
                <a:gd name="T45" fmla="*/ 3 h 1389"/>
                <a:gd name="T46" fmla="*/ 2991 w 4727"/>
                <a:gd name="T47" fmla="*/ 6 h 1389"/>
                <a:gd name="T48" fmla="*/ 1832 w 4727"/>
                <a:gd name="T49" fmla="*/ 8 h 1389"/>
                <a:gd name="T50" fmla="*/ 159 w 4727"/>
                <a:gd name="T51" fmla="*/ 5 h 1389"/>
                <a:gd name="T52" fmla="*/ 62 w 4727"/>
                <a:gd name="T53" fmla="*/ 695 h 1389"/>
                <a:gd name="T54" fmla="*/ 0 w 4727"/>
                <a:gd name="T55" fmla="*/ 1051 h 1389"/>
                <a:gd name="T56" fmla="*/ 94 w 4727"/>
                <a:gd name="T57" fmla="*/ 1384 h 1389"/>
                <a:gd name="T58" fmla="*/ 783 w 4727"/>
                <a:gd name="T59" fmla="*/ 1384 h 1389"/>
                <a:gd name="T60" fmla="*/ 1062 w 4727"/>
                <a:gd name="T61" fmla="*/ 1015 h 1389"/>
                <a:gd name="T62" fmla="*/ 1333 w 4727"/>
                <a:gd name="T63" fmla="*/ 1384 h 1389"/>
                <a:gd name="T64" fmla="*/ 3154 w 4727"/>
                <a:gd name="T65" fmla="*/ 1386 h 1389"/>
                <a:gd name="T66" fmla="*/ 3438 w 4727"/>
                <a:gd name="T67" fmla="*/ 1018 h 1389"/>
                <a:gd name="T68" fmla="*/ 3721 w 4727"/>
                <a:gd name="T69" fmla="*/ 1389 h 1389"/>
                <a:gd name="T70" fmla="*/ 4725 w 4727"/>
                <a:gd name="T71" fmla="*/ 219 h 13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727" h="1389">
                  <a:moveTo>
                    <a:pt x="350" y="244"/>
                  </a:moveTo>
                  <a:lnTo>
                    <a:pt x="517" y="244"/>
                  </a:lnTo>
                  <a:cubicBezTo>
                    <a:pt x="554" y="244"/>
                    <a:pt x="584" y="273"/>
                    <a:pt x="584" y="311"/>
                  </a:cubicBezTo>
                  <a:lnTo>
                    <a:pt x="584" y="1155"/>
                  </a:lnTo>
                  <a:cubicBezTo>
                    <a:pt x="584" y="1192"/>
                    <a:pt x="554" y="1222"/>
                    <a:pt x="517" y="1222"/>
                  </a:cubicBezTo>
                  <a:lnTo>
                    <a:pt x="350" y="1222"/>
                  </a:lnTo>
                  <a:cubicBezTo>
                    <a:pt x="313" y="1222"/>
                    <a:pt x="283" y="1192"/>
                    <a:pt x="283" y="1155"/>
                  </a:cubicBezTo>
                  <a:lnTo>
                    <a:pt x="283" y="311"/>
                  </a:lnTo>
                  <a:cubicBezTo>
                    <a:pt x="283" y="273"/>
                    <a:pt x="313" y="244"/>
                    <a:pt x="350" y="244"/>
                  </a:cubicBezTo>
                  <a:close/>
                  <a:moveTo>
                    <a:pt x="3801" y="241"/>
                  </a:moveTo>
                  <a:lnTo>
                    <a:pt x="4364" y="241"/>
                  </a:lnTo>
                  <a:cubicBezTo>
                    <a:pt x="4478" y="241"/>
                    <a:pt x="4558" y="311"/>
                    <a:pt x="4558" y="382"/>
                  </a:cubicBezTo>
                  <a:lnTo>
                    <a:pt x="4558" y="583"/>
                  </a:lnTo>
                  <a:cubicBezTo>
                    <a:pt x="4558" y="620"/>
                    <a:pt x="4528" y="650"/>
                    <a:pt x="4491" y="650"/>
                  </a:cubicBezTo>
                  <a:lnTo>
                    <a:pt x="3801" y="650"/>
                  </a:lnTo>
                  <a:cubicBezTo>
                    <a:pt x="3763" y="650"/>
                    <a:pt x="3733" y="620"/>
                    <a:pt x="3733" y="583"/>
                  </a:cubicBezTo>
                  <a:lnTo>
                    <a:pt x="3733" y="308"/>
                  </a:lnTo>
                  <a:cubicBezTo>
                    <a:pt x="3733" y="271"/>
                    <a:pt x="3763" y="241"/>
                    <a:pt x="3801" y="241"/>
                  </a:cubicBezTo>
                  <a:close/>
                  <a:moveTo>
                    <a:pt x="2823" y="241"/>
                  </a:moveTo>
                  <a:lnTo>
                    <a:pt x="3513" y="241"/>
                  </a:lnTo>
                  <a:cubicBezTo>
                    <a:pt x="3550" y="241"/>
                    <a:pt x="3580" y="271"/>
                    <a:pt x="3580" y="308"/>
                  </a:cubicBezTo>
                  <a:lnTo>
                    <a:pt x="3580" y="583"/>
                  </a:lnTo>
                  <a:cubicBezTo>
                    <a:pt x="3580" y="620"/>
                    <a:pt x="3550" y="650"/>
                    <a:pt x="3513" y="650"/>
                  </a:cubicBezTo>
                  <a:lnTo>
                    <a:pt x="2823" y="650"/>
                  </a:lnTo>
                  <a:cubicBezTo>
                    <a:pt x="2786" y="650"/>
                    <a:pt x="2756" y="620"/>
                    <a:pt x="2756" y="583"/>
                  </a:cubicBezTo>
                  <a:lnTo>
                    <a:pt x="2756" y="308"/>
                  </a:lnTo>
                  <a:cubicBezTo>
                    <a:pt x="2756" y="271"/>
                    <a:pt x="2786" y="241"/>
                    <a:pt x="2823" y="241"/>
                  </a:cubicBezTo>
                  <a:close/>
                  <a:moveTo>
                    <a:pt x="1839" y="241"/>
                  </a:moveTo>
                  <a:lnTo>
                    <a:pt x="2530" y="241"/>
                  </a:lnTo>
                  <a:cubicBezTo>
                    <a:pt x="2567" y="241"/>
                    <a:pt x="2597" y="271"/>
                    <a:pt x="2597" y="308"/>
                  </a:cubicBezTo>
                  <a:lnTo>
                    <a:pt x="2597" y="583"/>
                  </a:lnTo>
                  <a:cubicBezTo>
                    <a:pt x="2597" y="620"/>
                    <a:pt x="2567" y="650"/>
                    <a:pt x="2530" y="650"/>
                  </a:cubicBezTo>
                  <a:lnTo>
                    <a:pt x="1839" y="650"/>
                  </a:lnTo>
                  <a:cubicBezTo>
                    <a:pt x="1802" y="650"/>
                    <a:pt x="1772" y="620"/>
                    <a:pt x="1772" y="583"/>
                  </a:cubicBezTo>
                  <a:lnTo>
                    <a:pt x="1772" y="308"/>
                  </a:lnTo>
                  <a:cubicBezTo>
                    <a:pt x="1772" y="271"/>
                    <a:pt x="1802" y="241"/>
                    <a:pt x="1839" y="241"/>
                  </a:cubicBezTo>
                  <a:close/>
                  <a:moveTo>
                    <a:pt x="853" y="241"/>
                  </a:moveTo>
                  <a:lnTo>
                    <a:pt x="1543" y="241"/>
                  </a:lnTo>
                  <a:cubicBezTo>
                    <a:pt x="1580" y="241"/>
                    <a:pt x="1610" y="271"/>
                    <a:pt x="1610" y="308"/>
                  </a:cubicBezTo>
                  <a:lnTo>
                    <a:pt x="1610" y="583"/>
                  </a:lnTo>
                  <a:cubicBezTo>
                    <a:pt x="1610" y="620"/>
                    <a:pt x="1580" y="650"/>
                    <a:pt x="1543" y="650"/>
                  </a:cubicBezTo>
                  <a:lnTo>
                    <a:pt x="853" y="650"/>
                  </a:lnTo>
                  <a:cubicBezTo>
                    <a:pt x="816" y="650"/>
                    <a:pt x="786" y="620"/>
                    <a:pt x="786" y="583"/>
                  </a:cubicBezTo>
                  <a:lnTo>
                    <a:pt x="786" y="308"/>
                  </a:lnTo>
                  <a:cubicBezTo>
                    <a:pt x="786" y="271"/>
                    <a:pt x="816" y="241"/>
                    <a:pt x="853" y="241"/>
                  </a:cubicBezTo>
                  <a:close/>
                  <a:moveTo>
                    <a:pt x="4479" y="3"/>
                  </a:moveTo>
                  <a:lnTo>
                    <a:pt x="3570" y="4"/>
                  </a:lnTo>
                  <a:lnTo>
                    <a:pt x="2991" y="6"/>
                  </a:lnTo>
                  <a:lnTo>
                    <a:pt x="2411" y="7"/>
                  </a:lnTo>
                  <a:lnTo>
                    <a:pt x="1832" y="8"/>
                  </a:lnTo>
                  <a:lnTo>
                    <a:pt x="1253" y="9"/>
                  </a:lnTo>
                  <a:lnTo>
                    <a:pt x="159" y="5"/>
                  </a:lnTo>
                  <a:cubicBezTo>
                    <a:pt x="122" y="8"/>
                    <a:pt x="92" y="32"/>
                    <a:pt x="90" y="67"/>
                  </a:cubicBezTo>
                  <a:lnTo>
                    <a:pt x="62" y="695"/>
                  </a:lnTo>
                  <a:lnTo>
                    <a:pt x="0" y="743"/>
                  </a:lnTo>
                  <a:lnTo>
                    <a:pt x="0" y="1051"/>
                  </a:lnTo>
                  <a:lnTo>
                    <a:pt x="1" y="1287"/>
                  </a:lnTo>
                  <a:cubicBezTo>
                    <a:pt x="0" y="1349"/>
                    <a:pt x="47" y="1383"/>
                    <a:pt x="94" y="1384"/>
                  </a:cubicBezTo>
                  <a:lnTo>
                    <a:pt x="570" y="1384"/>
                  </a:lnTo>
                  <a:lnTo>
                    <a:pt x="783" y="1384"/>
                  </a:lnTo>
                  <a:cubicBezTo>
                    <a:pt x="772" y="1356"/>
                    <a:pt x="766" y="1342"/>
                    <a:pt x="766" y="1309"/>
                  </a:cubicBezTo>
                  <a:cubicBezTo>
                    <a:pt x="763" y="1147"/>
                    <a:pt x="894" y="1015"/>
                    <a:pt x="1062" y="1015"/>
                  </a:cubicBezTo>
                  <a:cubicBezTo>
                    <a:pt x="1236" y="1015"/>
                    <a:pt x="1351" y="1161"/>
                    <a:pt x="1350" y="1309"/>
                  </a:cubicBezTo>
                  <a:cubicBezTo>
                    <a:pt x="1350" y="1342"/>
                    <a:pt x="1343" y="1356"/>
                    <a:pt x="1333" y="1384"/>
                  </a:cubicBezTo>
                  <a:lnTo>
                    <a:pt x="2352" y="1384"/>
                  </a:lnTo>
                  <a:lnTo>
                    <a:pt x="3154" y="1386"/>
                  </a:lnTo>
                  <a:cubicBezTo>
                    <a:pt x="3143" y="1358"/>
                    <a:pt x="3137" y="1344"/>
                    <a:pt x="3137" y="1311"/>
                  </a:cubicBezTo>
                  <a:cubicBezTo>
                    <a:pt x="3135" y="1148"/>
                    <a:pt x="3266" y="1016"/>
                    <a:pt x="3438" y="1018"/>
                  </a:cubicBezTo>
                  <a:cubicBezTo>
                    <a:pt x="3612" y="1018"/>
                    <a:pt x="3723" y="1160"/>
                    <a:pt x="3723" y="1309"/>
                  </a:cubicBezTo>
                  <a:cubicBezTo>
                    <a:pt x="3724" y="1352"/>
                    <a:pt x="3721" y="1368"/>
                    <a:pt x="3721" y="1389"/>
                  </a:cubicBezTo>
                  <a:lnTo>
                    <a:pt x="4720" y="1190"/>
                  </a:lnTo>
                  <a:lnTo>
                    <a:pt x="4725" y="219"/>
                  </a:lnTo>
                  <a:cubicBezTo>
                    <a:pt x="4727" y="109"/>
                    <a:pt x="4589" y="0"/>
                    <a:pt x="4479" y="3"/>
                  </a:cubicBezTo>
                  <a:close/>
                </a:path>
              </a:pathLst>
            </a:custGeom>
            <a:grpFill/>
            <a:ln w="793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Oval 245">
              <a:extLst>
                <a:ext uri="{FF2B5EF4-FFF2-40B4-BE49-F238E27FC236}">
                  <a16:creationId xmlns:a16="http://schemas.microsoft.com/office/drawing/2014/main" id="{46A2E106-8B26-4C1C-B680-BBA85119E2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27" y="3365"/>
              <a:ext cx="158" cy="158"/>
            </a:xfrm>
            <a:prstGeom prst="ellipse">
              <a:avLst/>
            </a:prstGeom>
            <a:grpFill/>
            <a:ln w="11113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Oval 246">
              <a:extLst>
                <a:ext uri="{FF2B5EF4-FFF2-40B4-BE49-F238E27FC236}">
                  <a16:creationId xmlns:a16="http://schemas.microsoft.com/office/drawing/2014/main" id="{21D41689-EFA7-415F-AB6D-5986E31BF0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63" y="3401"/>
              <a:ext cx="86" cy="85"/>
            </a:xfrm>
            <a:prstGeom prst="ellipse">
              <a:avLst/>
            </a:prstGeom>
            <a:grpFill/>
            <a:ln w="11113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1" name="Business_People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8214825E-E7F0-4321-AE2B-C114ADDEDCC7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3243346" y="5701719"/>
            <a:ext cx="1829526" cy="1136542"/>
            <a:chOff x="1575" y="1315"/>
            <a:chExt cx="4533" cy="2816"/>
          </a:xfrm>
          <a:solidFill>
            <a:schemeClr val="accent1"/>
          </a:solidFill>
        </p:grpSpPr>
        <p:sp>
          <p:nvSpPr>
            <p:cNvPr id="12" name="Freeform 168">
              <a:extLst>
                <a:ext uri="{FF2B5EF4-FFF2-40B4-BE49-F238E27FC236}">
                  <a16:creationId xmlns:a16="http://schemas.microsoft.com/office/drawing/2014/main" id="{908FD5D5-2029-4D3D-B82E-DAB6D5625C9D}"/>
                </a:ext>
              </a:extLst>
            </p:cNvPr>
            <p:cNvSpPr>
              <a:spLocks/>
            </p:cNvSpPr>
            <p:nvPr/>
          </p:nvSpPr>
          <p:spPr bwMode="auto">
            <a:xfrm>
              <a:off x="4728" y="1315"/>
              <a:ext cx="240" cy="422"/>
            </a:xfrm>
            <a:custGeom>
              <a:avLst/>
              <a:gdLst>
                <a:gd name="T0" fmla="*/ 533 w 1233"/>
                <a:gd name="T1" fmla="*/ 27 h 2164"/>
                <a:gd name="T2" fmla="*/ 1025 w 1233"/>
                <a:gd name="T3" fmla="*/ 110 h 2164"/>
                <a:gd name="T4" fmla="*/ 1207 w 1233"/>
                <a:gd name="T5" fmla="*/ 398 h 2164"/>
                <a:gd name="T6" fmla="*/ 1138 w 1233"/>
                <a:gd name="T7" fmla="*/ 1025 h 2164"/>
                <a:gd name="T8" fmla="*/ 943 w 1233"/>
                <a:gd name="T9" fmla="*/ 1783 h 2164"/>
                <a:gd name="T10" fmla="*/ 717 w 1233"/>
                <a:gd name="T11" fmla="*/ 2032 h 2164"/>
                <a:gd name="T12" fmla="*/ 559 w 1233"/>
                <a:gd name="T13" fmla="*/ 2164 h 2164"/>
                <a:gd name="T14" fmla="*/ 146 w 1233"/>
                <a:gd name="T15" fmla="*/ 1812 h 2164"/>
                <a:gd name="T16" fmla="*/ 85 w 1233"/>
                <a:gd name="T17" fmla="*/ 1663 h 2164"/>
                <a:gd name="T18" fmla="*/ 78 w 1233"/>
                <a:gd name="T19" fmla="*/ 1586 h 2164"/>
                <a:gd name="T20" fmla="*/ 0 w 1233"/>
                <a:gd name="T21" fmla="*/ 737 h 2164"/>
                <a:gd name="T22" fmla="*/ 114 w 1233"/>
                <a:gd name="T23" fmla="*/ 279 h 2164"/>
                <a:gd name="T24" fmla="*/ 533 w 1233"/>
                <a:gd name="T25" fmla="*/ 27 h 2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33" h="2164">
                  <a:moveTo>
                    <a:pt x="533" y="27"/>
                  </a:moveTo>
                  <a:cubicBezTo>
                    <a:pt x="699" y="0"/>
                    <a:pt x="880" y="17"/>
                    <a:pt x="1025" y="110"/>
                  </a:cubicBezTo>
                  <a:cubicBezTo>
                    <a:pt x="1124" y="173"/>
                    <a:pt x="1193" y="281"/>
                    <a:pt x="1207" y="398"/>
                  </a:cubicBezTo>
                  <a:cubicBezTo>
                    <a:pt x="1233" y="609"/>
                    <a:pt x="1191" y="821"/>
                    <a:pt x="1138" y="1025"/>
                  </a:cubicBezTo>
                  <a:cubicBezTo>
                    <a:pt x="1071" y="1277"/>
                    <a:pt x="984" y="1524"/>
                    <a:pt x="943" y="1783"/>
                  </a:cubicBezTo>
                  <a:cubicBezTo>
                    <a:pt x="865" y="1863"/>
                    <a:pt x="794" y="1951"/>
                    <a:pt x="717" y="2032"/>
                  </a:cubicBezTo>
                  <a:cubicBezTo>
                    <a:pt x="666" y="2079"/>
                    <a:pt x="612" y="2120"/>
                    <a:pt x="559" y="2164"/>
                  </a:cubicBezTo>
                  <a:cubicBezTo>
                    <a:pt x="418" y="2050"/>
                    <a:pt x="275" y="1939"/>
                    <a:pt x="146" y="1812"/>
                  </a:cubicBezTo>
                  <a:cubicBezTo>
                    <a:pt x="122" y="1764"/>
                    <a:pt x="106" y="1713"/>
                    <a:pt x="85" y="1663"/>
                  </a:cubicBezTo>
                  <a:cubicBezTo>
                    <a:pt x="72" y="1639"/>
                    <a:pt x="78" y="1612"/>
                    <a:pt x="78" y="1586"/>
                  </a:cubicBezTo>
                  <a:cubicBezTo>
                    <a:pt x="86" y="1300"/>
                    <a:pt x="2" y="1022"/>
                    <a:pt x="0" y="737"/>
                  </a:cubicBezTo>
                  <a:cubicBezTo>
                    <a:pt x="0" y="579"/>
                    <a:pt x="32" y="417"/>
                    <a:pt x="114" y="279"/>
                  </a:cubicBezTo>
                  <a:cubicBezTo>
                    <a:pt x="204" y="135"/>
                    <a:pt x="371" y="57"/>
                    <a:pt x="533" y="27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Freeform 169">
              <a:extLst>
                <a:ext uri="{FF2B5EF4-FFF2-40B4-BE49-F238E27FC236}">
                  <a16:creationId xmlns:a16="http://schemas.microsoft.com/office/drawing/2014/main" id="{25F4A325-A38F-4C41-827E-9384AAAF85C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98" y="1364"/>
              <a:ext cx="878" cy="2758"/>
            </a:xfrm>
            <a:custGeom>
              <a:avLst/>
              <a:gdLst>
                <a:gd name="T0" fmla="*/ 3009 w 4512"/>
                <a:gd name="T1" fmla="*/ 230 h 14137"/>
                <a:gd name="T2" fmla="*/ 3167 w 4512"/>
                <a:gd name="T3" fmla="*/ 847 h 14137"/>
                <a:gd name="T4" fmla="*/ 3226 w 4512"/>
                <a:gd name="T5" fmla="*/ 1246 h 14137"/>
                <a:gd name="T6" fmla="*/ 2975 w 4512"/>
                <a:gd name="T7" fmla="*/ 1860 h 14137"/>
                <a:gd name="T8" fmla="*/ 2659 w 4512"/>
                <a:gd name="T9" fmla="*/ 2516 h 14137"/>
                <a:gd name="T10" fmla="*/ 2638 w 4512"/>
                <a:gd name="T11" fmla="*/ 2677 h 14137"/>
                <a:gd name="T12" fmla="*/ 2647 w 4512"/>
                <a:gd name="T13" fmla="*/ 2897 h 14137"/>
                <a:gd name="T14" fmla="*/ 2733 w 4512"/>
                <a:gd name="T15" fmla="*/ 3338 h 14137"/>
                <a:gd name="T16" fmla="*/ 3005 w 4512"/>
                <a:gd name="T17" fmla="*/ 2485 h 14137"/>
                <a:gd name="T18" fmla="*/ 3089 w 4512"/>
                <a:gd name="T19" fmla="*/ 2141 h 14137"/>
                <a:gd name="T20" fmla="*/ 3478 w 4512"/>
                <a:gd name="T21" fmla="*/ 2374 h 14137"/>
                <a:gd name="T22" fmla="*/ 4295 w 4512"/>
                <a:gd name="T23" fmla="*/ 2781 h 14137"/>
                <a:gd name="T24" fmla="*/ 4466 w 4512"/>
                <a:gd name="T25" fmla="*/ 5024 h 14137"/>
                <a:gd name="T26" fmla="*/ 4484 w 4512"/>
                <a:gd name="T27" fmla="*/ 6760 h 14137"/>
                <a:gd name="T28" fmla="*/ 4428 w 4512"/>
                <a:gd name="T29" fmla="*/ 7468 h 14137"/>
                <a:gd name="T30" fmla="*/ 4028 w 4512"/>
                <a:gd name="T31" fmla="*/ 7328 h 14137"/>
                <a:gd name="T32" fmla="*/ 3887 w 4512"/>
                <a:gd name="T33" fmla="*/ 7502 h 14137"/>
                <a:gd name="T34" fmla="*/ 3773 w 4512"/>
                <a:gd name="T35" fmla="*/ 6532 h 14137"/>
                <a:gd name="T36" fmla="*/ 3729 w 4512"/>
                <a:gd name="T37" fmla="*/ 7011 h 14137"/>
                <a:gd name="T38" fmla="*/ 3658 w 4512"/>
                <a:gd name="T39" fmla="*/ 8210 h 14137"/>
                <a:gd name="T40" fmla="*/ 3563 w 4512"/>
                <a:gd name="T41" fmla="*/ 11910 h 14137"/>
                <a:gd name="T42" fmla="*/ 3612 w 4512"/>
                <a:gd name="T43" fmla="*/ 12570 h 14137"/>
                <a:gd name="T44" fmla="*/ 3742 w 4512"/>
                <a:gd name="T45" fmla="*/ 13348 h 14137"/>
                <a:gd name="T46" fmla="*/ 3867 w 4512"/>
                <a:gd name="T47" fmla="*/ 14052 h 14137"/>
                <a:gd name="T48" fmla="*/ 3063 w 4512"/>
                <a:gd name="T49" fmla="*/ 13738 h 14137"/>
                <a:gd name="T50" fmla="*/ 2936 w 4512"/>
                <a:gd name="T51" fmla="*/ 13365 h 14137"/>
                <a:gd name="T52" fmla="*/ 2646 w 4512"/>
                <a:gd name="T53" fmla="*/ 12962 h 14137"/>
                <a:gd name="T54" fmla="*/ 2764 w 4512"/>
                <a:gd name="T55" fmla="*/ 12322 h 14137"/>
                <a:gd name="T56" fmla="*/ 2767 w 4512"/>
                <a:gd name="T57" fmla="*/ 11473 h 14137"/>
                <a:gd name="T58" fmla="*/ 2299 w 4512"/>
                <a:gd name="T59" fmla="*/ 8763 h 14137"/>
                <a:gd name="T60" fmla="*/ 1720 w 4512"/>
                <a:gd name="T61" fmla="*/ 11340 h 14137"/>
                <a:gd name="T62" fmla="*/ 1249 w 4512"/>
                <a:gd name="T63" fmla="*/ 12932 h 14137"/>
                <a:gd name="T64" fmla="*/ 738 w 4512"/>
                <a:gd name="T65" fmla="*/ 13933 h 14137"/>
                <a:gd name="T66" fmla="*/ 93 w 4512"/>
                <a:gd name="T67" fmla="*/ 13958 h 14137"/>
                <a:gd name="T68" fmla="*/ 392 w 4512"/>
                <a:gd name="T69" fmla="*/ 12966 h 14137"/>
                <a:gd name="T70" fmla="*/ 504 w 4512"/>
                <a:gd name="T71" fmla="*/ 11710 h 14137"/>
                <a:gd name="T72" fmla="*/ 796 w 4512"/>
                <a:gd name="T73" fmla="*/ 9747 h 14137"/>
                <a:gd name="T74" fmla="*/ 927 w 4512"/>
                <a:gd name="T75" fmla="*/ 9186 h 14137"/>
                <a:gd name="T76" fmla="*/ 889 w 4512"/>
                <a:gd name="T77" fmla="*/ 7911 h 14137"/>
                <a:gd name="T78" fmla="*/ 704 w 4512"/>
                <a:gd name="T79" fmla="*/ 7498 h 14137"/>
                <a:gd name="T80" fmla="*/ 980 w 4512"/>
                <a:gd name="T81" fmla="*/ 5673 h 14137"/>
                <a:gd name="T82" fmla="*/ 721 w 4512"/>
                <a:gd name="T83" fmla="*/ 6880 h 14137"/>
                <a:gd name="T84" fmla="*/ 317 w 4512"/>
                <a:gd name="T85" fmla="*/ 6752 h 14137"/>
                <a:gd name="T86" fmla="*/ 0 w 4512"/>
                <a:gd name="T87" fmla="*/ 6901 h 14137"/>
                <a:gd name="T88" fmla="*/ 209 w 4512"/>
                <a:gd name="T89" fmla="*/ 5397 h 14137"/>
                <a:gd name="T90" fmla="*/ 261 w 4512"/>
                <a:gd name="T91" fmla="*/ 4725 h 14137"/>
                <a:gd name="T92" fmla="*/ 476 w 4512"/>
                <a:gd name="T93" fmla="*/ 3307 h 14137"/>
                <a:gd name="T94" fmla="*/ 1116 w 4512"/>
                <a:gd name="T95" fmla="*/ 2400 h 14137"/>
                <a:gd name="T96" fmla="*/ 1804 w 4512"/>
                <a:gd name="T97" fmla="*/ 2185 h 14137"/>
                <a:gd name="T98" fmla="*/ 2143 w 4512"/>
                <a:gd name="T99" fmla="*/ 2886 h 14137"/>
                <a:gd name="T100" fmla="*/ 2250 w 4512"/>
                <a:gd name="T101" fmla="*/ 3617 h 14137"/>
                <a:gd name="T102" fmla="*/ 2384 w 4512"/>
                <a:gd name="T103" fmla="*/ 2897 h 14137"/>
                <a:gd name="T104" fmla="*/ 2393 w 4512"/>
                <a:gd name="T105" fmla="*/ 2635 h 14137"/>
                <a:gd name="T106" fmla="*/ 2083 w 4512"/>
                <a:gd name="T107" fmla="*/ 2104 h 14137"/>
                <a:gd name="T108" fmla="*/ 1991 w 4512"/>
                <a:gd name="T109" fmla="*/ 1334 h 14137"/>
                <a:gd name="T110" fmla="*/ 1783 w 4512"/>
                <a:gd name="T111" fmla="*/ 947 h 14137"/>
                <a:gd name="T112" fmla="*/ 1921 w 4512"/>
                <a:gd name="T113" fmla="*/ 911 h 14137"/>
                <a:gd name="T114" fmla="*/ 2362 w 4512"/>
                <a:gd name="T115" fmla="*/ 57 h 14137"/>
                <a:gd name="T116" fmla="*/ 3608 w 4512"/>
                <a:gd name="T117" fmla="*/ 5624 h 14137"/>
                <a:gd name="T118" fmla="*/ 3611 w 4512"/>
                <a:gd name="T119" fmla="*/ 5412 h 14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512" h="14137">
                  <a:moveTo>
                    <a:pt x="2362" y="57"/>
                  </a:moveTo>
                  <a:cubicBezTo>
                    <a:pt x="2588" y="0"/>
                    <a:pt x="2843" y="65"/>
                    <a:pt x="3009" y="230"/>
                  </a:cubicBezTo>
                  <a:cubicBezTo>
                    <a:pt x="3129" y="348"/>
                    <a:pt x="3190" y="519"/>
                    <a:pt x="3185" y="686"/>
                  </a:cubicBezTo>
                  <a:cubicBezTo>
                    <a:pt x="3185" y="741"/>
                    <a:pt x="3171" y="793"/>
                    <a:pt x="3167" y="847"/>
                  </a:cubicBezTo>
                  <a:cubicBezTo>
                    <a:pt x="3172" y="915"/>
                    <a:pt x="3288" y="886"/>
                    <a:pt x="3284" y="960"/>
                  </a:cubicBezTo>
                  <a:cubicBezTo>
                    <a:pt x="3281" y="1057"/>
                    <a:pt x="3281" y="1162"/>
                    <a:pt x="3226" y="1246"/>
                  </a:cubicBezTo>
                  <a:cubicBezTo>
                    <a:pt x="3188" y="1305"/>
                    <a:pt x="3116" y="1332"/>
                    <a:pt x="3048" y="1332"/>
                  </a:cubicBezTo>
                  <a:cubicBezTo>
                    <a:pt x="3002" y="1504"/>
                    <a:pt x="2965" y="1681"/>
                    <a:pt x="2975" y="1860"/>
                  </a:cubicBezTo>
                  <a:cubicBezTo>
                    <a:pt x="2979" y="1929"/>
                    <a:pt x="2997" y="1997"/>
                    <a:pt x="3024" y="2061"/>
                  </a:cubicBezTo>
                  <a:cubicBezTo>
                    <a:pt x="2931" y="2232"/>
                    <a:pt x="2814" y="2395"/>
                    <a:pt x="2659" y="2516"/>
                  </a:cubicBezTo>
                  <a:cubicBezTo>
                    <a:pt x="2629" y="2540"/>
                    <a:pt x="2597" y="2561"/>
                    <a:pt x="2568" y="2586"/>
                  </a:cubicBezTo>
                  <a:cubicBezTo>
                    <a:pt x="2596" y="2612"/>
                    <a:pt x="2613" y="2647"/>
                    <a:pt x="2638" y="2677"/>
                  </a:cubicBezTo>
                  <a:cubicBezTo>
                    <a:pt x="2671" y="2718"/>
                    <a:pt x="2708" y="2758"/>
                    <a:pt x="2728" y="2808"/>
                  </a:cubicBezTo>
                  <a:cubicBezTo>
                    <a:pt x="2707" y="2842"/>
                    <a:pt x="2682" y="2875"/>
                    <a:pt x="2647" y="2897"/>
                  </a:cubicBezTo>
                  <a:cubicBezTo>
                    <a:pt x="2642" y="2967"/>
                    <a:pt x="2683" y="3027"/>
                    <a:pt x="2723" y="3081"/>
                  </a:cubicBezTo>
                  <a:cubicBezTo>
                    <a:pt x="2772" y="3159"/>
                    <a:pt x="2736" y="3253"/>
                    <a:pt x="2733" y="3338"/>
                  </a:cubicBezTo>
                  <a:cubicBezTo>
                    <a:pt x="2761" y="3230"/>
                    <a:pt x="2757" y="3114"/>
                    <a:pt x="2802" y="3011"/>
                  </a:cubicBezTo>
                  <a:cubicBezTo>
                    <a:pt x="2860" y="2832"/>
                    <a:pt x="2951" y="2665"/>
                    <a:pt x="3005" y="2485"/>
                  </a:cubicBezTo>
                  <a:cubicBezTo>
                    <a:pt x="3037" y="2388"/>
                    <a:pt x="3057" y="2287"/>
                    <a:pt x="3070" y="2186"/>
                  </a:cubicBezTo>
                  <a:cubicBezTo>
                    <a:pt x="3070" y="2169"/>
                    <a:pt x="3080" y="2155"/>
                    <a:pt x="3089" y="2141"/>
                  </a:cubicBezTo>
                  <a:cubicBezTo>
                    <a:pt x="3151" y="2172"/>
                    <a:pt x="3177" y="2243"/>
                    <a:pt x="3231" y="2284"/>
                  </a:cubicBezTo>
                  <a:cubicBezTo>
                    <a:pt x="3307" y="2328"/>
                    <a:pt x="3402" y="2327"/>
                    <a:pt x="3478" y="2374"/>
                  </a:cubicBezTo>
                  <a:cubicBezTo>
                    <a:pt x="3688" y="2447"/>
                    <a:pt x="3913" y="2482"/>
                    <a:pt x="4107" y="2595"/>
                  </a:cubicBezTo>
                  <a:cubicBezTo>
                    <a:pt x="4184" y="2640"/>
                    <a:pt x="4253" y="2702"/>
                    <a:pt x="4295" y="2781"/>
                  </a:cubicBezTo>
                  <a:cubicBezTo>
                    <a:pt x="4340" y="2863"/>
                    <a:pt x="4347" y="2958"/>
                    <a:pt x="4365" y="3048"/>
                  </a:cubicBezTo>
                  <a:cubicBezTo>
                    <a:pt x="4484" y="3699"/>
                    <a:pt x="4491" y="4365"/>
                    <a:pt x="4466" y="5024"/>
                  </a:cubicBezTo>
                  <a:cubicBezTo>
                    <a:pt x="4457" y="5357"/>
                    <a:pt x="4443" y="5690"/>
                    <a:pt x="4447" y="6023"/>
                  </a:cubicBezTo>
                  <a:cubicBezTo>
                    <a:pt x="4447" y="6269"/>
                    <a:pt x="4463" y="6515"/>
                    <a:pt x="4484" y="6760"/>
                  </a:cubicBezTo>
                  <a:cubicBezTo>
                    <a:pt x="4503" y="6997"/>
                    <a:pt x="4512" y="7240"/>
                    <a:pt x="4455" y="7473"/>
                  </a:cubicBezTo>
                  <a:cubicBezTo>
                    <a:pt x="4448" y="7472"/>
                    <a:pt x="4434" y="7469"/>
                    <a:pt x="4428" y="7468"/>
                  </a:cubicBezTo>
                  <a:cubicBezTo>
                    <a:pt x="4420" y="7436"/>
                    <a:pt x="4436" y="7384"/>
                    <a:pt x="4398" y="7369"/>
                  </a:cubicBezTo>
                  <a:cubicBezTo>
                    <a:pt x="4278" y="7332"/>
                    <a:pt x="4152" y="7332"/>
                    <a:pt x="4028" y="7328"/>
                  </a:cubicBezTo>
                  <a:cubicBezTo>
                    <a:pt x="3980" y="7326"/>
                    <a:pt x="3933" y="7341"/>
                    <a:pt x="3885" y="7346"/>
                  </a:cubicBezTo>
                  <a:cubicBezTo>
                    <a:pt x="3851" y="7395"/>
                    <a:pt x="3872" y="7451"/>
                    <a:pt x="3887" y="7502"/>
                  </a:cubicBezTo>
                  <a:cubicBezTo>
                    <a:pt x="3850" y="7475"/>
                    <a:pt x="3781" y="7478"/>
                    <a:pt x="3775" y="7422"/>
                  </a:cubicBezTo>
                  <a:cubicBezTo>
                    <a:pt x="3758" y="7126"/>
                    <a:pt x="3784" y="6829"/>
                    <a:pt x="3773" y="6532"/>
                  </a:cubicBezTo>
                  <a:cubicBezTo>
                    <a:pt x="3734" y="6565"/>
                    <a:pt x="3704" y="6610"/>
                    <a:pt x="3699" y="6661"/>
                  </a:cubicBezTo>
                  <a:cubicBezTo>
                    <a:pt x="3685" y="6779"/>
                    <a:pt x="3725" y="6894"/>
                    <a:pt x="3729" y="7011"/>
                  </a:cubicBezTo>
                  <a:cubicBezTo>
                    <a:pt x="3740" y="7269"/>
                    <a:pt x="3747" y="7528"/>
                    <a:pt x="3732" y="7786"/>
                  </a:cubicBezTo>
                  <a:cubicBezTo>
                    <a:pt x="3724" y="7929"/>
                    <a:pt x="3702" y="8073"/>
                    <a:pt x="3658" y="8210"/>
                  </a:cubicBezTo>
                  <a:cubicBezTo>
                    <a:pt x="3605" y="9247"/>
                    <a:pt x="3518" y="10284"/>
                    <a:pt x="3518" y="11323"/>
                  </a:cubicBezTo>
                  <a:cubicBezTo>
                    <a:pt x="3518" y="11520"/>
                    <a:pt x="3557" y="11714"/>
                    <a:pt x="3563" y="11910"/>
                  </a:cubicBezTo>
                  <a:cubicBezTo>
                    <a:pt x="3566" y="12086"/>
                    <a:pt x="3546" y="12277"/>
                    <a:pt x="3642" y="12435"/>
                  </a:cubicBezTo>
                  <a:cubicBezTo>
                    <a:pt x="3675" y="12477"/>
                    <a:pt x="3659" y="12545"/>
                    <a:pt x="3612" y="12570"/>
                  </a:cubicBezTo>
                  <a:cubicBezTo>
                    <a:pt x="3569" y="12599"/>
                    <a:pt x="3503" y="12614"/>
                    <a:pt x="3495" y="12673"/>
                  </a:cubicBezTo>
                  <a:cubicBezTo>
                    <a:pt x="3517" y="12916"/>
                    <a:pt x="3634" y="13134"/>
                    <a:pt x="3742" y="13348"/>
                  </a:cubicBezTo>
                  <a:cubicBezTo>
                    <a:pt x="3841" y="13542"/>
                    <a:pt x="3913" y="13754"/>
                    <a:pt x="3915" y="13973"/>
                  </a:cubicBezTo>
                  <a:cubicBezTo>
                    <a:pt x="3896" y="13999"/>
                    <a:pt x="3897" y="14037"/>
                    <a:pt x="3867" y="14052"/>
                  </a:cubicBezTo>
                  <a:cubicBezTo>
                    <a:pt x="3766" y="14128"/>
                    <a:pt x="3630" y="14137"/>
                    <a:pt x="3513" y="14101"/>
                  </a:cubicBezTo>
                  <a:cubicBezTo>
                    <a:pt x="3324" y="14044"/>
                    <a:pt x="3162" y="13908"/>
                    <a:pt x="3063" y="13738"/>
                  </a:cubicBezTo>
                  <a:cubicBezTo>
                    <a:pt x="3035" y="13692"/>
                    <a:pt x="2994" y="13654"/>
                    <a:pt x="2975" y="13603"/>
                  </a:cubicBezTo>
                  <a:cubicBezTo>
                    <a:pt x="2951" y="13526"/>
                    <a:pt x="2969" y="13441"/>
                    <a:pt x="2936" y="13365"/>
                  </a:cubicBezTo>
                  <a:cubicBezTo>
                    <a:pt x="2890" y="13260"/>
                    <a:pt x="2798" y="13187"/>
                    <a:pt x="2724" y="13103"/>
                  </a:cubicBezTo>
                  <a:cubicBezTo>
                    <a:pt x="2688" y="13062"/>
                    <a:pt x="2653" y="13017"/>
                    <a:pt x="2646" y="12962"/>
                  </a:cubicBezTo>
                  <a:cubicBezTo>
                    <a:pt x="2623" y="12831"/>
                    <a:pt x="2653" y="12698"/>
                    <a:pt x="2697" y="12575"/>
                  </a:cubicBezTo>
                  <a:cubicBezTo>
                    <a:pt x="2723" y="12492"/>
                    <a:pt x="2762" y="12410"/>
                    <a:pt x="2764" y="12322"/>
                  </a:cubicBezTo>
                  <a:cubicBezTo>
                    <a:pt x="2723" y="12206"/>
                    <a:pt x="2727" y="12081"/>
                    <a:pt x="2733" y="11961"/>
                  </a:cubicBezTo>
                  <a:cubicBezTo>
                    <a:pt x="2743" y="11798"/>
                    <a:pt x="2765" y="11636"/>
                    <a:pt x="2767" y="11473"/>
                  </a:cubicBezTo>
                  <a:cubicBezTo>
                    <a:pt x="2761" y="11179"/>
                    <a:pt x="2710" y="10889"/>
                    <a:pt x="2674" y="10599"/>
                  </a:cubicBezTo>
                  <a:cubicBezTo>
                    <a:pt x="2598" y="9978"/>
                    <a:pt x="2477" y="9363"/>
                    <a:pt x="2299" y="8763"/>
                  </a:cubicBezTo>
                  <a:cubicBezTo>
                    <a:pt x="2186" y="9066"/>
                    <a:pt x="2118" y="9382"/>
                    <a:pt x="2055" y="9698"/>
                  </a:cubicBezTo>
                  <a:cubicBezTo>
                    <a:pt x="1949" y="10247"/>
                    <a:pt x="1873" y="10802"/>
                    <a:pt x="1720" y="11340"/>
                  </a:cubicBezTo>
                  <a:cubicBezTo>
                    <a:pt x="1640" y="11639"/>
                    <a:pt x="1551" y="11937"/>
                    <a:pt x="1468" y="12235"/>
                  </a:cubicBezTo>
                  <a:cubicBezTo>
                    <a:pt x="1401" y="12469"/>
                    <a:pt x="1344" y="12707"/>
                    <a:pt x="1249" y="12932"/>
                  </a:cubicBezTo>
                  <a:cubicBezTo>
                    <a:pt x="1181" y="13095"/>
                    <a:pt x="1089" y="13250"/>
                    <a:pt x="963" y="13375"/>
                  </a:cubicBezTo>
                  <a:cubicBezTo>
                    <a:pt x="979" y="13582"/>
                    <a:pt x="897" y="13797"/>
                    <a:pt x="738" y="13933"/>
                  </a:cubicBezTo>
                  <a:cubicBezTo>
                    <a:pt x="615" y="14041"/>
                    <a:pt x="440" y="14097"/>
                    <a:pt x="280" y="14054"/>
                  </a:cubicBezTo>
                  <a:cubicBezTo>
                    <a:pt x="212" y="14035"/>
                    <a:pt x="145" y="14006"/>
                    <a:pt x="93" y="13958"/>
                  </a:cubicBezTo>
                  <a:cubicBezTo>
                    <a:pt x="62" y="13836"/>
                    <a:pt x="77" y="13706"/>
                    <a:pt x="119" y="13588"/>
                  </a:cubicBezTo>
                  <a:cubicBezTo>
                    <a:pt x="192" y="13373"/>
                    <a:pt x="347" y="13192"/>
                    <a:pt x="392" y="12966"/>
                  </a:cubicBezTo>
                  <a:cubicBezTo>
                    <a:pt x="420" y="12839"/>
                    <a:pt x="368" y="12713"/>
                    <a:pt x="375" y="12586"/>
                  </a:cubicBezTo>
                  <a:cubicBezTo>
                    <a:pt x="386" y="12290"/>
                    <a:pt x="458" y="12002"/>
                    <a:pt x="504" y="11710"/>
                  </a:cubicBezTo>
                  <a:cubicBezTo>
                    <a:pt x="592" y="11200"/>
                    <a:pt x="682" y="10689"/>
                    <a:pt x="748" y="10175"/>
                  </a:cubicBezTo>
                  <a:cubicBezTo>
                    <a:pt x="768" y="10033"/>
                    <a:pt x="767" y="9888"/>
                    <a:pt x="796" y="9747"/>
                  </a:cubicBezTo>
                  <a:cubicBezTo>
                    <a:pt x="813" y="9660"/>
                    <a:pt x="856" y="9580"/>
                    <a:pt x="886" y="9496"/>
                  </a:cubicBezTo>
                  <a:cubicBezTo>
                    <a:pt x="923" y="9398"/>
                    <a:pt x="926" y="9290"/>
                    <a:pt x="927" y="9186"/>
                  </a:cubicBezTo>
                  <a:cubicBezTo>
                    <a:pt x="929" y="8968"/>
                    <a:pt x="890" y="8753"/>
                    <a:pt x="869" y="8536"/>
                  </a:cubicBezTo>
                  <a:cubicBezTo>
                    <a:pt x="845" y="8328"/>
                    <a:pt x="844" y="8117"/>
                    <a:pt x="889" y="7911"/>
                  </a:cubicBezTo>
                  <a:cubicBezTo>
                    <a:pt x="864" y="7815"/>
                    <a:pt x="759" y="7770"/>
                    <a:pt x="719" y="7683"/>
                  </a:cubicBezTo>
                  <a:cubicBezTo>
                    <a:pt x="691" y="7625"/>
                    <a:pt x="697" y="7559"/>
                    <a:pt x="704" y="7498"/>
                  </a:cubicBezTo>
                  <a:cubicBezTo>
                    <a:pt x="732" y="7296"/>
                    <a:pt x="797" y="7101"/>
                    <a:pt x="819" y="6897"/>
                  </a:cubicBezTo>
                  <a:cubicBezTo>
                    <a:pt x="859" y="6488"/>
                    <a:pt x="892" y="6076"/>
                    <a:pt x="980" y="5673"/>
                  </a:cubicBezTo>
                  <a:cubicBezTo>
                    <a:pt x="870" y="5895"/>
                    <a:pt x="854" y="6146"/>
                    <a:pt x="823" y="6388"/>
                  </a:cubicBezTo>
                  <a:cubicBezTo>
                    <a:pt x="801" y="6554"/>
                    <a:pt x="780" y="6722"/>
                    <a:pt x="721" y="6880"/>
                  </a:cubicBezTo>
                  <a:cubicBezTo>
                    <a:pt x="638" y="6823"/>
                    <a:pt x="546" y="6759"/>
                    <a:pt x="441" y="6763"/>
                  </a:cubicBezTo>
                  <a:cubicBezTo>
                    <a:pt x="399" y="6764"/>
                    <a:pt x="358" y="6754"/>
                    <a:pt x="317" y="6752"/>
                  </a:cubicBezTo>
                  <a:cubicBezTo>
                    <a:pt x="256" y="6765"/>
                    <a:pt x="200" y="6792"/>
                    <a:pt x="143" y="6815"/>
                  </a:cubicBezTo>
                  <a:cubicBezTo>
                    <a:pt x="91" y="6836"/>
                    <a:pt x="40" y="6860"/>
                    <a:pt x="0" y="6901"/>
                  </a:cubicBezTo>
                  <a:cubicBezTo>
                    <a:pt x="12" y="6591"/>
                    <a:pt x="34" y="6280"/>
                    <a:pt x="70" y="5972"/>
                  </a:cubicBezTo>
                  <a:cubicBezTo>
                    <a:pt x="92" y="5775"/>
                    <a:pt x="186" y="5594"/>
                    <a:pt x="209" y="5397"/>
                  </a:cubicBezTo>
                  <a:cubicBezTo>
                    <a:pt x="227" y="5274"/>
                    <a:pt x="134" y="5170"/>
                    <a:pt x="140" y="5048"/>
                  </a:cubicBezTo>
                  <a:cubicBezTo>
                    <a:pt x="149" y="4929"/>
                    <a:pt x="253" y="4844"/>
                    <a:pt x="261" y="4725"/>
                  </a:cubicBezTo>
                  <a:cubicBezTo>
                    <a:pt x="292" y="4456"/>
                    <a:pt x="194" y="4185"/>
                    <a:pt x="249" y="3917"/>
                  </a:cubicBezTo>
                  <a:cubicBezTo>
                    <a:pt x="302" y="3706"/>
                    <a:pt x="410" y="3514"/>
                    <a:pt x="476" y="3307"/>
                  </a:cubicBezTo>
                  <a:cubicBezTo>
                    <a:pt x="552" y="3059"/>
                    <a:pt x="580" y="2799"/>
                    <a:pt x="657" y="2551"/>
                  </a:cubicBezTo>
                  <a:cubicBezTo>
                    <a:pt x="796" y="2468"/>
                    <a:pt x="961" y="2441"/>
                    <a:pt x="1116" y="2400"/>
                  </a:cubicBezTo>
                  <a:cubicBezTo>
                    <a:pt x="1265" y="2359"/>
                    <a:pt x="1417" y="2333"/>
                    <a:pt x="1565" y="2293"/>
                  </a:cubicBezTo>
                  <a:cubicBezTo>
                    <a:pt x="1649" y="2269"/>
                    <a:pt x="1738" y="2246"/>
                    <a:pt x="1804" y="2185"/>
                  </a:cubicBezTo>
                  <a:cubicBezTo>
                    <a:pt x="1876" y="2119"/>
                    <a:pt x="1937" y="2031"/>
                    <a:pt x="2039" y="2009"/>
                  </a:cubicBezTo>
                  <a:cubicBezTo>
                    <a:pt x="2003" y="2306"/>
                    <a:pt x="2073" y="2600"/>
                    <a:pt x="2143" y="2886"/>
                  </a:cubicBezTo>
                  <a:cubicBezTo>
                    <a:pt x="2156" y="2923"/>
                    <a:pt x="2141" y="2962"/>
                    <a:pt x="2147" y="3000"/>
                  </a:cubicBezTo>
                  <a:cubicBezTo>
                    <a:pt x="2176" y="3206"/>
                    <a:pt x="2190" y="3416"/>
                    <a:pt x="2250" y="3617"/>
                  </a:cubicBezTo>
                  <a:cubicBezTo>
                    <a:pt x="2252" y="3451"/>
                    <a:pt x="2253" y="3286"/>
                    <a:pt x="2252" y="3120"/>
                  </a:cubicBezTo>
                  <a:cubicBezTo>
                    <a:pt x="2272" y="3034"/>
                    <a:pt x="2346" y="2975"/>
                    <a:pt x="2384" y="2897"/>
                  </a:cubicBezTo>
                  <a:cubicBezTo>
                    <a:pt x="2347" y="2866"/>
                    <a:pt x="2302" y="2842"/>
                    <a:pt x="2264" y="2811"/>
                  </a:cubicBezTo>
                  <a:cubicBezTo>
                    <a:pt x="2302" y="2749"/>
                    <a:pt x="2351" y="2694"/>
                    <a:pt x="2393" y="2635"/>
                  </a:cubicBezTo>
                  <a:cubicBezTo>
                    <a:pt x="2413" y="2610"/>
                    <a:pt x="2429" y="2574"/>
                    <a:pt x="2467" y="2575"/>
                  </a:cubicBezTo>
                  <a:cubicBezTo>
                    <a:pt x="2372" y="2392"/>
                    <a:pt x="2161" y="2299"/>
                    <a:pt x="2083" y="2104"/>
                  </a:cubicBezTo>
                  <a:cubicBezTo>
                    <a:pt x="2011" y="1932"/>
                    <a:pt x="2126" y="1748"/>
                    <a:pt x="2078" y="1572"/>
                  </a:cubicBezTo>
                  <a:cubicBezTo>
                    <a:pt x="2055" y="1491"/>
                    <a:pt x="2006" y="1418"/>
                    <a:pt x="1991" y="1334"/>
                  </a:cubicBezTo>
                  <a:cubicBezTo>
                    <a:pt x="1939" y="1333"/>
                    <a:pt x="1889" y="1311"/>
                    <a:pt x="1856" y="1270"/>
                  </a:cubicBezTo>
                  <a:cubicBezTo>
                    <a:pt x="1783" y="1181"/>
                    <a:pt x="1771" y="1058"/>
                    <a:pt x="1783" y="947"/>
                  </a:cubicBezTo>
                  <a:cubicBezTo>
                    <a:pt x="1786" y="923"/>
                    <a:pt x="1801" y="894"/>
                    <a:pt x="1829" y="897"/>
                  </a:cubicBezTo>
                  <a:cubicBezTo>
                    <a:pt x="1860" y="900"/>
                    <a:pt x="1890" y="907"/>
                    <a:pt x="1921" y="911"/>
                  </a:cubicBezTo>
                  <a:cubicBezTo>
                    <a:pt x="1888" y="729"/>
                    <a:pt x="1889" y="534"/>
                    <a:pt x="1971" y="364"/>
                  </a:cubicBezTo>
                  <a:cubicBezTo>
                    <a:pt x="2044" y="208"/>
                    <a:pt x="2197" y="99"/>
                    <a:pt x="2362" y="57"/>
                  </a:cubicBezTo>
                  <a:close/>
                  <a:moveTo>
                    <a:pt x="3611" y="5412"/>
                  </a:moveTo>
                  <a:cubicBezTo>
                    <a:pt x="3607" y="5482"/>
                    <a:pt x="3605" y="5553"/>
                    <a:pt x="3608" y="5624"/>
                  </a:cubicBezTo>
                  <a:cubicBezTo>
                    <a:pt x="3617" y="5877"/>
                    <a:pt x="3651" y="6134"/>
                    <a:pt x="3750" y="6369"/>
                  </a:cubicBezTo>
                  <a:cubicBezTo>
                    <a:pt x="3726" y="6047"/>
                    <a:pt x="3687" y="5726"/>
                    <a:pt x="3611" y="5412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Freeform 170">
              <a:extLst>
                <a:ext uri="{FF2B5EF4-FFF2-40B4-BE49-F238E27FC236}">
                  <a16:creationId xmlns:a16="http://schemas.microsoft.com/office/drawing/2014/main" id="{C0E8812F-20CC-4D9E-B868-2240C13E6E04}"/>
                </a:ext>
              </a:extLst>
            </p:cNvPr>
            <p:cNvSpPr>
              <a:spLocks/>
            </p:cNvSpPr>
            <p:nvPr/>
          </p:nvSpPr>
          <p:spPr bwMode="auto">
            <a:xfrm>
              <a:off x="3668" y="1432"/>
              <a:ext cx="326" cy="462"/>
            </a:xfrm>
            <a:custGeom>
              <a:avLst/>
              <a:gdLst>
                <a:gd name="T0" fmla="*/ 834 w 1670"/>
                <a:gd name="T1" fmla="*/ 21 h 2368"/>
                <a:gd name="T2" fmla="*/ 1263 w 1670"/>
                <a:gd name="T3" fmla="*/ 45 h 2368"/>
                <a:gd name="T4" fmla="*/ 1556 w 1670"/>
                <a:gd name="T5" fmla="*/ 326 h 2368"/>
                <a:gd name="T6" fmla="*/ 1668 w 1670"/>
                <a:gd name="T7" fmla="*/ 910 h 2368"/>
                <a:gd name="T8" fmla="*/ 1612 w 1670"/>
                <a:gd name="T9" fmla="*/ 1537 h 2368"/>
                <a:gd name="T10" fmla="*/ 1556 w 1670"/>
                <a:gd name="T11" fmla="*/ 1606 h 2368"/>
                <a:gd name="T12" fmla="*/ 1207 w 1670"/>
                <a:gd name="T13" fmla="*/ 1839 h 2368"/>
                <a:gd name="T14" fmla="*/ 1172 w 1670"/>
                <a:gd name="T15" fmla="*/ 1910 h 2368"/>
                <a:gd name="T16" fmla="*/ 891 w 1670"/>
                <a:gd name="T17" fmla="*/ 2368 h 2368"/>
                <a:gd name="T18" fmla="*/ 415 w 1670"/>
                <a:gd name="T19" fmla="*/ 1799 h 2368"/>
                <a:gd name="T20" fmla="*/ 445 w 1670"/>
                <a:gd name="T21" fmla="*/ 1671 h 2368"/>
                <a:gd name="T22" fmla="*/ 363 w 1670"/>
                <a:gd name="T23" fmla="*/ 1532 h 2368"/>
                <a:gd name="T24" fmla="*/ 315 w 1670"/>
                <a:gd name="T25" fmla="*/ 1539 h 2368"/>
                <a:gd name="T26" fmla="*/ 224 w 1670"/>
                <a:gd name="T27" fmla="*/ 1735 h 2368"/>
                <a:gd name="T28" fmla="*/ 0 w 1670"/>
                <a:gd name="T29" fmla="*/ 1507 h 2368"/>
                <a:gd name="T30" fmla="*/ 117 w 1670"/>
                <a:gd name="T31" fmla="*/ 809 h 2368"/>
                <a:gd name="T32" fmla="*/ 400 w 1670"/>
                <a:gd name="T33" fmla="*/ 249 h 2368"/>
                <a:gd name="T34" fmla="*/ 834 w 1670"/>
                <a:gd name="T35" fmla="*/ 21 h 2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70" h="2368">
                  <a:moveTo>
                    <a:pt x="834" y="21"/>
                  </a:moveTo>
                  <a:cubicBezTo>
                    <a:pt x="976" y="0"/>
                    <a:pt x="1123" y="13"/>
                    <a:pt x="1263" y="45"/>
                  </a:cubicBezTo>
                  <a:cubicBezTo>
                    <a:pt x="1397" y="88"/>
                    <a:pt x="1497" y="202"/>
                    <a:pt x="1556" y="326"/>
                  </a:cubicBezTo>
                  <a:cubicBezTo>
                    <a:pt x="1641" y="508"/>
                    <a:pt x="1664" y="711"/>
                    <a:pt x="1668" y="910"/>
                  </a:cubicBezTo>
                  <a:cubicBezTo>
                    <a:pt x="1670" y="1120"/>
                    <a:pt x="1648" y="1330"/>
                    <a:pt x="1612" y="1537"/>
                  </a:cubicBezTo>
                  <a:cubicBezTo>
                    <a:pt x="1609" y="1570"/>
                    <a:pt x="1578" y="1587"/>
                    <a:pt x="1556" y="1606"/>
                  </a:cubicBezTo>
                  <a:cubicBezTo>
                    <a:pt x="1444" y="1690"/>
                    <a:pt x="1323" y="1760"/>
                    <a:pt x="1207" y="1839"/>
                  </a:cubicBezTo>
                  <a:cubicBezTo>
                    <a:pt x="1202" y="1865"/>
                    <a:pt x="1185" y="1887"/>
                    <a:pt x="1172" y="1910"/>
                  </a:cubicBezTo>
                  <a:cubicBezTo>
                    <a:pt x="1077" y="2062"/>
                    <a:pt x="986" y="2216"/>
                    <a:pt x="891" y="2368"/>
                  </a:cubicBezTo>
                  <a:cubicBezTo>
                    <a:pt x="732" y="2179"/>
                    <a:pt x="573" y="1989"/>
                    <a:pt x="415" y="1799"/>
                  </a:cubicBezTo>
                  <a:cubicBezTo>
                    <a:pt x="436" y="1761"/>
                    <a:pt x="456" y="1716"/>
                    <a:pt x="445" y="1671"/>
                  </a:cubicBezTo>
                  <a:cubicBezTo>
                    <a:pt x="436" y="1616"/>
                    <a:pt x="400" y="1571"/>
                    <a:pt x="363" y="1532"/>
                  </a:cubicBezTo>
                  <a:cubicBezTo>
                    <a:pt x="350" y="1517"/>
                    <a:pt x="324" y="1522"/>
                    <a:pt x="315" y="1539"/>
                  </a:cubicBezTo>
                  <a:cubicBezTo>
                    <a:pt x="270" y="1596"/>
                    <a:pt x="252" y="1668"/>
                    <a:pt x="224" y="1735"/>
                  </a:cubicBezTo>
                  <a:cubicBezTo>
                    <a:pt x="110" y="1700"/>
                    <a:pt x="115" y="1540"/>
                    <a:pt x="0" y="1507"/>
                  </a:cubicBezTo>
                  <a:cubicBezTo>
                    <a:pt x="23" y="1272"/>
                    <a:pt x="55" y="1037"/>
                    <a:pt x="117" y="809"/>
                  </a:cubicBezTo>
                  <a:cubicBezTo>
                    <a:pt x="174" y="607"/>
                    <a:pt x="256" y="405"/>
                    <a:pt x="400" y="249"/>
                  </a:cubicBezTo>
                  <a:cubicBezTo>
                    <a:pt x="512" y="126"/>
                    <a:pt x="668" y="43"/>
                    <a:pt x="834" y="21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Freeform 171">
              <a:extLst>
                <a:ext uri="{FF2B5EF4-FFF2-40B4-BE49-F238E27FC236}">
                  <a16:creationId xmlns:a16="http://schemas.microsoft.com/office/drawing/2014/main" id="{5BC6EDBE-41B7-427F-A87C-967B74EF591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4" y="1448"/>
              <a:ext cx="304" cy="403"/>
            </a:xfrm>
            <a:custGeom>
              <a:avLst/>
              <a:gdLst>
                <a:gd name="T0" fmla="*/ 568 w 1562"/>
                <a:gd name="T1" fmla="*/ 69 h 2062"/>
                <a:gd name="T2" fmla="*/ 957 w 1562"/>
                <a:gd name="T3" fmla="*/ 46 h 2062"/>
                <a:gd name="T4" fmla="*/ 1425 w 1562"/>
                <a:gd name="T5" fmla="*/ 428 h 2062"/>
                <a:gd name="T6" fmla="*/ 1557 w 1562"/>
                <a:gd name="T7" fmla="*/ 803 h 2062"/>
                <a:gd name="T8" fmla="*/ 1477 w 1562"/>
                <a:gd name="T9" fmla="*/ 1054 h 2062"/>
                <a:gd name="T10" fmla="*/ 1161 w 1562"/>
                <a:gd name="T11" fmla="*/ 1639 h 2062"/>
                <a:gd name="T12" fmla="*/ 1074 w 1562"/>
                <a:gd name="T13" fmla="*/ 1765 h 2062"/>
                <a:gd name="T14" fmla="*/ 1061 w 1562"/>
                <a:gd name="T15" fmla="*/ 1899 h 2062"/>
                <a:gd name="T16" fmla="*/ 967 w 1562"/>
                <a:gd name="T17" fmla="*/ 2019 h 2062"/>
                <a:gd name="T18" fmla="*/ 898 w 1562"/>
                <a:gd name="T19" fmla="*/ 2062 h 2062"/>
                <a:gd name="T20" fmla="*/ 514 w 1562"/>
                <a:gd name="T21" fmla="*/ 1787 h 2062"/>
                <a:gd name="T22" fmla="*/ 352 w 1562"/>
                <a:gd name="T23" fmla="*/ 1665 h 2062"/>
                <a:gd name="T24" fmla="*/ 226 w 1562"/>
                <a:gd name="T25" fmla="*/ 1545 h 2062"/>
                <a:gd name="T26" fmla="*/ 206 w 1562"/>
                <a:gd name="T27" fmla="*/ 1487 h 2062"/>
                <a:gd name="T28" fmla="*/ 18 w 1562"/>
                <a:gd name="T29" fmla="*/ 1042 h 2062"/>
                <a:gd name="T30" fmla="*/ 58 w 1562"/>
                <a:gd name="T31" fmla="*/ 711 h 2062"/>
                <a:gd name="T32" fmla="*/ 204 w 1562"/>
                <a:gd name="T33" fmla="*/ 455 h 2062"/>
                <a:gd name="T34" fmla="*/ 568 w 1562"/>
                <a:gd name="T35" fmla="*/ 69 h 20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62" h="2062">
                  <a:moveTo>
                    <a:pt x="568" y="69"/>
                  </a:moveTo>
                  <a:cubicBezTo>
                    <a:pt x="687" y="6"/>
                    <a:pt x="831" y="0"/>
                    <a:pt x="957" y="46"/>
                  </a:cubicBezTo>
                  <a:cubicBezTo>
                    <a:pt x="1151" y="116"/>
                    <a:pt x="1311" y="260"/>
                    <a:pt x="1425" y="428"/>
                  </a:cubicBezTo>
                  <a:cubicBezTo>
                    <a:pt x="1498" y="540"/>
                    <a:pt x="1554" y="668"/>
                    <a:pt x="1557" y="803"/>
                  </a:cubicBezTo>
                  <a:cubicBezTo>
                    <a:pt x="1562" y="894"/>
                    <a:pt x="1505" y="971"/>
                    <a:pt x="1477" y="1054"/>
                  </a:cubicBezTo>
                  <a:cubicBezTo>
                    <a:pt x="1406" y="1265"/>
                    <a:pt x="1291" y="1458"/>
                    <a:pt x="1161" y="1639"/>
                  </a:cubicBezTo>
                  <a:cubicBezTo>
                    <a:pt x="1132" y="1681"/>
                    <a:pt x="1098" y="1720"/>
                    <a:pt x="1074" y="1765"/>
                  </a:cubicBezTo>
                  <a:cubicBezTo>
                    <a:pt x="1068" y="1809"/>
                    <a:pt x="1081" y="1857"/>
                    <a:pt x="1061" y="1899"/>
                  </a:cubicBezTo>
                  <a:cubicBezTo>
                    <a:pt x="1045" y="1949"/>
                    <a:pt x="1000" y="1980"/>
                    <a:pt x="967" y="2019"/>
                  </a:cubicBezTo>
                  <a:cubicBezTo>
                    <a:pt x="949" y="2040"/>
                    <a:pt x="922" y="2050"/>
                    <a:pt x="898" y="2062"/>
                  </a:cubicBezTo>
                  <a:cubicBezTo>
                    <a:pt x="772" y="1968"/>
                    <a:pt x="646" y="1872"/>
                    <a:pt x="514" y="1787"/>
                  </a:cubicBezTo>
                  <a:cubicBezTo>
                    <a:pt x="455" y="1753"/>
                    <a:pt x="405" y="1707"/>
                    <a:pt x="352" y="1665"/>
                  </a:cubicBezTo>
                  <a:cubicBezTo>
                    <a:pt x="306" y="1629"/>
                    <a:pt x="272" y="1580"/>
                    <a:pt x="226" y="1545"/>
                  </a:cubicBezTo>
                  <a:cubicBezTo>
                    <a:pt x="216" y="1527"/>
                    <a:pt x="213" y="1506"/>
                    <a:pt x="206" y="1487"/>
                  </a:cubicBezTo>
                  <a:cubicBezTo>
                    <a:pt x="160" y="1332"/>
                    <a:pt x="46" y="1203"/>
                    <a:pt x="18" y="1042"/>
                  </a:cubicBezTo>
                  <a:cubicBezTo>
                    <a:pt x="0" y="931"/>
                    <a:pt x="6" y="812"/>
                    <a:pt x="58" y="711"/>
                  </a:cubicBezTo>
                  <a:cubicBezTo>
                    <a:pt x="103" y="624"/>
                    <a:pt x="155" y="540"/>
                    <a:pt x="204" y="455"/>
                  </a:cubicBezTo>
                  <a:cubicBezTo>
                    <a:pt x="296" y="304"/>
                    <a:pt x="407" y="152"/>
                    <a:pt x="568" y="69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Freeform 172">
              <a:extLst>
                <a:ext uri="{FF2B5EF4-FFF2-40B4-BE49-F238E27FC236}">
                  <a16:creationId xmlns:a16="http://schemas.microsoft.com/office/drawing/2014/main" id="{1FFF0A7B-ECA1-47E7-B9D2-46DCE97BD6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50" y="1448"/>
              <a:ext cx="858" cy="2677"/>
            </a:xfrm>
            <a:custGeom>
              <a:avLst/>
              <a:gdLst>
                <a:gd name="T0" fmla="*/ 2603 w 4405"/>
                <a:gd name="T1" fmla="*/ 241 h 13716"/>
                <a:gd name="T2" fmla="*/ 3044 w 4405"/>
                <a:gd name="T3" fmla="*/ 996 h 13716"/>
                <a:gd name="T4" fmla="*/ 3221 w 4405"/>
                <a:gd name="T5" fmla="*/ 1430 h 13716"/>
                <a:gd name="T6" fmla="*/ 3589 w 4405"/>
                <a:gd name="T7" fmla="*/ 2342 h 13716"/>
                <a:gd name="T8" fmla="*/ 3972 w 4405"/>
                <a:gd name="T9" fmla="*/ 3755 h 13716"/>
                <a:gd name="T10" fmla="*/ 4375 w 4405"/>
                <a:gd name="T11" fmla="*/ 5405 h 13716"/>
                <a:gd name="T12" fmla="*/ 4073 w 4405"/>
                <a:gd name="T13" fmla="*/ 6485 h 13716"/>
                <a:gd name="T14" fmla="*/ 3893 w 4405"/>
                <a:gd name="T15" fmla="*/ 8166 h 13716"/>
                <a:gd name="T16" fmla="*/ 3566 w 4405"/>
                <a:gd name="T17" fmla="*/ 13104 h 13716"/>
                <a:gd name="T18" fmla="*/ 3318 w 4405"/>
                <a:gd name="T19" fmla="*/ 13681 h 13716"/>
                <a:gd name="T20" fmla="*/ 2755 w 4405"/>
                <a:gd name="T21" fmla="*/ 13425 h 13716"/>
                <a:gd name="T22" fmla="*/ 2816 w 4405"/>
                <a:gd name="T23" fmla="*/ 10941 h 13716"/>
                <a:gd name="T24" fmla="*/ 2520 w 4405"/>
                <a:gd name="T25" fmla="*/ 7465 h 13716"/>
                <a:gd name="T26" fmla="*/ 1757 w 4405"/>
                <a:gd name="T27" fmla="*/ 10093 h 13716"/>
                <a:gd name="T28" fmla="*/ 933 w 4405"/>
                <a:gd name="T29" fmla="*/ 13186 h 13716"/>
                <a:gd name="T30" fmla="*/ 224 w 4405"/>
                <a:gd name="T31" fmla="*/ 13668 h 13716"/>
                <a:gd name="T32" fmla="*/ 10 w 4405"/>
                <a:gd name="T33" fmla="*/ 13204 h 13716"/>
                <a:gd name="T34" fmla="*/ 257 w 4405"/>
                <a:gd name="T35" fmla="*/ 11831 h 13716"/>
                <a:gd name="T36" fmla="*/ 829 w 4405"/>
                <a:gd name="T37" fmla="*/ 9329 h 13716"/>
                <a:gd name="T38" fmla="*/ 620 w 4405"/>
                <a:gd name="T39" fmla="*/ 7951 h 13716"/>
                <a:gd name="T40" fmla="*/ 487 w 4405"/>
                <a:gd name="T41" fmla="*/ 7191 h 13716"/>
                <a:gd name="T42" fmla="*/ 607 w 4405"/>
                <a:gd name="T43" fmla="*/ 5566 h 13716"/>
                <a:gd name="T44" fmla="*/ 765 w 4405"/>
                <a:gd name="T45" fmla="*/ 2630 h 13716"/>
                <a:gd name="T46" fmla="*/ 1269 w 4405"/>
                <a:gd name="T47" fmla="*/ 2131 h 13716"/>
                <a:gd name="T48" fmla="*/ 1362 w 4405"/>
                <a:gd name="T49" fmla="*/ 803 h 13716"/>
                <a:gd name="T50" fmla="*/ 1975 w 4405"/>
                <a:gd name="T51" fmla="*/ 27 h 13716"/>
                <a:gd name="T52" fmla="*/ 1815 w 4405"/>
                <a:gd name="T53" fmla="*/ 3030 h 13716"/>
                <a:gd name="T54" fmla="*/ 2221 w 4405"/>
                <a:gd name="T55" fmla="*/ 4147 h 13716"/>
                <a:gd name="T56" fmla="*/ 2509 w 4405"/>
                <a:gd name="T57" fmla="*/ 3816 h 13716"/>
                <a:gd name="T58" fmla="*/ 2704 w 4405"/>
                <a:gd name="T59" fmla="*/ 2929 h 13716"/>
                <a:gd name="T60" fmla="*/ 2522 w 4405"/>
                <a:gd name="T61" fmla="*/ 2422 h 13716"/>
                <a:gd name="T62" fmla="*/ 1883 w 4405"/>
                <a:gd name="T63" fmla="*/ 2385 h 13716"/>
                <a:gd name="T64" fmla="*/ 3266 w 4405"/>
                <a:gd name="T65" fmla="*/ 4068 h 13716"/>
                <a:gd name="T66" fmla="*/ 3394 w 4405"/>
                <a:gd name="T67" fmla="*/ 4810 h 13716"/>
                <a:gd name="T68" fmla="*/ 3922 w 4405"/>
                <a:gd name="T69" fmla="*/ 5810 h 13716"/>
                <a:gd name="T70" fmla="*/ 3588 w 4405"/>
                <a:gd name="T71" fmla="*/ 4545 h 13716"/>
                <a:gd name="T72" fmla="*/ 3396 w 4405"/>
                <a:gd name="T73" fmla="*/ 3935 h 13716"/>
                <a:gd name="T74" fmla="*/ 1263 w 4405"/>
                <a:gd name="T75" fmla="*/ 4158 h 13716"/>
                <a:gd name="T76" fmla="*/ 1123 w 4405"/>
                <a:gd name="T77" fmla="*/ 6241 h 13716"/>
                <a:gd name="T78" fmla="*/ 1012 w 4405"/>
                <a:gd name="T79" fmla="*/ 7442 h 13716"/>
                <a:gd name="T80" fmla="*/ 1113 w 4405"/>
                <a:gd name="T81" fmla="*/ 7352 h 13716"/>
                <a:gd name="T82" fmla="*/ 1207 w 4405"/>
                <a:gd name="T83" fmla="*/ 6702 h 13716"/>
                <a:gd name="T84" fmla="*/ 1407 w 4405"/>
                <a:gd name="T85" fmla="*/ 4905 h 13716"/>
                <a:gd name="T86" fmla="*/ 2233 w 4405"/>
                <a:gd name="T87" fmla="*/ 6473 h 13716"/>
                <a:gd name="T88" fmla="*/ 2491 w 4405"/>
                <a:gd name="T89" fmla="*/ 5361 h 13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405" h="13716">
                  <a:moveTo>
                    <a:pt x="1975" y="27"/>
                  </a:moveTo>
                  <a:cubicBezTo>
                    <a:pt x="2105" y="3"/>
                    <a:pt x="2244" y="0"/>
                    <a:pt x="2367" y="51"/>
                  </a:cubicBezTo>
                  <a:cubicBezTo>
                    <a:pt x="2463" y="89"/>
                    <a:pt x="2542" y="159"/>
                    <a:pt x="2603" y="241"/>
                  </a:cubicBezTo>
                  <a:cubicBezTo>
                    <a:pt x="2703" y="376"/>
                    <a:pt x="2766" y="533"/>
                    <a:pt x="2855" y="675"/>
                  </a:cubicBezTo>
                  <a:cubicBezTo>
                    <a:pt x="2904" y="747"/>
                    <a:pt x="2981" y="792"/>
                    <a:pt x="3031" y="863"/>
                  </a:cubicBezTo>
                  <a:cubicBezTo>
                    <a:pt x="3057" y="900"/>
                    <a:pt x="3067" y="954"/>
                    <a:pt x="3044" y="996"/>
                  </a:cubicBezTo>
                  <a:cubicBezTo>
                    <a:pt x="3024" y="1026"/>
                    <a:pt x="2995" y="1048"/>
                    <a:pt x="2980" y="1081"/>
                  </a:cubicBezTo>
                  <a:cubicBezTo>
                    <a:pt x="2957" y="1144"/>
                    <a:pt x="2976" y="1223"/>
                    <a:pt x="3034" y="1262"/>
                  </a:cubicBezTo>
                  <a:cubicBezTo>
                    <a:pt x="3099" y="1313"/>
                    <a:pt x="3197" y="1342"/>
                    <a:pt x="3221" y="1430"/>
                  </a:cubicBezTo>
                  <a:cubicBezTo>
                    <a:pt x="3195" y="1682"/>
                    <a:pt x="3176" y="1953"/>
                    <a:pt x="3295" y="2187"/>
                  </a:cubicBezTo>
                  <a:cubicBezTo>
                    <a:pt x="3310" y="2227"/>
                    <a:pt x="3355" y="2240"/>
                    <a:pt x="3392" y="2252"/>
                  </a:cubicBezTo>
                  <a:cubicBezTo>
                    <a:pt x="3460" y="2273"/>
                    <a:pt x="3541" y="2282"/>
                    <a:pt x="3589" y="2342"/>
                  </a:cubicBezTo>
                  <a:cubicBezTo>
                    <a:pt x="3646" y="2420"/>
                    <a:pt x="3675" y="2514"/>
                    <a:pt x="3705" y="2605"/>
                  </a:cubicBezTo>
                  <a:cubicBezTo>
                    <a:pt x="3772" y="2826"/>
                    <a:pt x="3818" y="3053"/>
                    <a:pt x="3859" y="3281"/>
                  </a:cubicBezTo>
                  <a:cubicBezTo>
                    <a:pt x="3890" y="3440"/>
                    <a:pt x="3934" y="3597"/>
                    <a:pt x="3972" y="3755"/>
                  </a:cubicBezTo>
                  <a:cubicBezTo>
                    <a:pt x="4012" y="3923"/>
                    <a:pt x="4010" y="4098"/>
                    <a:pt x="4053" y="4266"/>
                  </a:cubicBezTo>
                  <a:cubicBezTo>
                    <a:pt x="4082" y="4372"/>
                    <a:pt x="4142" y="4465"/>
                    <a:pt x="4177" y="4568"/>
                  </a:cubicBezTo>
                  <a:cubicBezTo>
                    <a:pt x="4270" y="4840"/>
                    <a:pt x="4341" y="5120"/>
                    <a:pt x="4375" y="5405"/>
                  </a:cubicBezTo>
                  <a:cubicBezTo>
                    <a:pt x="4405" y="5642"/>
                    <a:pt x="4392" y="5885"/>
                    <a:pt x="4342" y="6119"/>
                  </a:cubicBezTo>
                  <a:cubicBezTo>
                    <a:pt x="4316" y="6228"/>
                    <a:pt x="4284" y="6346"/>
                    <a:pt x="4199" y="6425"/>
                  </a:cubicBezTo>
                  <a:cubicBezTo>
                    <a:pt x="4165" y="6459"/>
                    <a:pt x="4120" y="6478"/>
                    <a:pt x="4073" y="6485"/>
                  </a:cubicBezTo>
                  <a:cubicBezTo>
                    <a:pt x="4047" y="6576"/>
                    <a:pt x="3960" y="6630"/>
                    <a:pt x="3926" y="6717"/>
                  </a:cubicBezTo>
                  <a:cubicBezTo>
                    <a:pt x="3885" y="6864"/>
                    <a:pt x="3928" y="7017"/>
                    <a:pt x="3921" y="7167"/>
                  </a:cubicBezTo>
                  <a:cubicBezTo>
                    <a:pt x="3909" y="7500"/>
                    <a:pt x="3901" y="7833"/>
                    <a:pt x="3893" y="8166"/>
                  </a:cubicBezTo>
                  <a:cubicBezTo>
                    <a:pt x="3887" y="8462"/>
                    <a:pt x="3872" y="8758"/>
                    <a:pt x="3864" y="9054"/>
                  </a:cubicBezTo>
                  <a:cubicBezTo>
                    <a:pt x="3858" y="9471"/>
                    <a:pt x="3869" y="9888"/>
                    <a:pt x="3847" y="10305"/>
                  </a:cubicBezTo>
                  <a:cubicBezTo>
                    <a:pt x="3779" y="11240"/>
                    <a:pt x="3729" y="12179"/>
                    <a:pt x="3566" y="13104"/>
                  </a:cubicBezTo>
                  <a:cubicBezTo>
                    <a:pt x="3542" y="13226"/>
                    <a:pt x="3515" y="13349"/>
                    <a:pt x="3461" y="13461"/>
                  </a:cubicBezTo>
                  <a:cubicBezTo>
                    <a:pt x="3438" y="13512"/>
                    <a:pt x="3398" y="13554"/>
                    <a:pt x="3347" y="13577"/>
                  </a:cubicBezTo>
                  <a:cubicBezTo>
                    <a:pt x="3338" y="13612"/>
                    <a:pt x="3331" y="13647"/>
                    <a:pt x="3318" y="13681"/>
                  </a:cubicBezTo>
                  <a:cubicBezTo>
                    <a:pt x="3188" y="13713"/>
                    <a:pt x="3052" y="13716"/>
                    <a:pt x="2920" y="13695"/>
                  </a:cubicBezTo>
                  <a:cubicBezTo>
                    <a:pt x="2876" y="13691"/>
                    <a:pt x="2842" y="13657"/>
                    <a:pt x="2825" y="13618"/>
                  </a:cubicBezTo>
                  <a:cubicBezTo>
                    <a:pt x="2797" y="13556"/>
                    <a:pt x="2794" y="13483"/>
                    <a:pt x="2755" y="13425"/>
                  </a:cubicBezTo>
                  <a:cubicBezTo>
                    <a:pt x="2716" y="13364"/>
                    <a:pt x="2662" y="13306"/>
                    <a:pt x="2654" y="13230"/>
                  </a:cubicBezTo>
                  <a:cubicBezTo>
                    <a:pt x="2623" y="13026"/>
                    <a:pt x="2651" y="12819"/>
                    <a:pt x="2677" y="12616"/>
                  </a:cubicBezTo>
                  <a:cubicBezTo>
                    <a:pt x="2756" y="12060"/>
                    <a:pt x="2754" y="11498"/>
                    <a:pt x="2816" y="10941"/>
                  </a:cubicBezTo>
                  <a:cubicBezTo>
                    <a:pt x="2842" y="10721"/>
                    <a:pt x="2873" y="10501"/>
                    <a:pt x="2882" y="10279"/>
                  </a:cubicBezTo>
                  <a:cubicBezTo>
                    <a:pt x="2902" y="9875"/>
                    <a:pt x="2882" y="9470"/>
                    <a:pt x="2858" y="9067"/>
                  </a:cubicBezTo>
                  <a:cubicBezTo>
                    <a:pt x="2833" y="8518"/>
                    <a:pt x="2673" y="7988"/>
                    <a:pt x="2520" y="7465"/>
                  </a:cubicBezTo>
                  <a:cubicBezTo>
                    <a:pt x="2452" y="7543"/>
                    <a:pt x="2413" y="7641"/>
                    <a:pt x="2385" y="7739"/>
                  </a:cubicBezTo>
                  <a:cubicBezTo>
                    <a:pt x="2233" y="8260"/>
                    <a:pt x="2118" y="8792"/>
                    <a:pt x="1977" y="9316"/>
                  </a:cubicBezTo>
                  <a:cubicBezTo>
                    <a:pt x="1908" y="9576"/>
                    <a:pt x="1828" y="9833"/>
                    <a:pt x="1757" y="10093"/>
                  </a:cubicBezTo>
                  <a:cubicBezTo>
                    <a:pt x="1604" y="10644"/>
                    <a:pt x="1464" y="11198"/>
                    <a:pt x="1328" y="11754"/>
                  </a:cubicBezTo>
                  <a:cubicBezTo>
                    <a:pt x="1262" y="12035"/>
                    <a:pt x="1188" y="12315"/>
                    <a:pt x="1102" y="12591"/>
                  </a:cubicBezTo>
                  <a:cubicBezTo>
                    <a:pt x="1042" y="12788"/>
                    <a:pt x="1014" y="12995"/>
                    <a:pt x="933" y="13186"/>
                  </a:cubicBezTo>
                  <a:cubicBezTo>
                    <a:pt x="886" y="13295"/>
                    <a:pt x="812" y="13395"/>
                    <a:pt x="708" y="13455"/>
                  </a:cubicBezTo>
                  <a:cubicBezTo>
                    <a:pt x="683" y="13526"/>
                    <a:pt x="682" y="13610"/>
                    <a:pt x="629" y="13668"/>
                  </a:cubicBezTo>
                  <a:cubicBezTo>
                    <a:pt x="497" y="13698"/>
                    <a:pt x="355" y="13710"/>
                    <a:pt x="224" y="13668"/>
                  </a:cubicBezTo>
                  <a:cubicBezTo>
                    <a:pt x="187" y="13659"/>
                    <a:pt x="161" y="13629"/>
                    <a:pt x="146" y="13597"/>
                  </a:cubicBezTo>
                  <a:cubicBezTo>
                    <a:pt x="116" y="13537"/>
                    <a:pt x="110" y="13470"/>
                    <a:pt x="87" y="13408"/>
                  </a:cubicBezTo>
                  <a:cubicBezTo>
                    <a:pt x="62" y="13340"/>
                    <a:pt x="20" y="13277"/>
                    <a:pt x="10" y="13204"/>
                  </a:cubicBezTo>
                  <a:cubicBezTo>
                    <a:pt x="0" y="13123"/>
                    <a:pt x="32" y="13046"/>
                    <a:pt x="48" y="12968"/>
                  </a:cubicBezTo>
                  <a:cubicBezTo>
                    <a:pt x="77" y="12835"/>
                    <a:pt x="54" y="12697"/>
                    <a:pt x="82" y="12564"/>
                  </a:cubicBezTo>
                  <a:cubicBezTo>
                    <a:pt x="126" y="12317"/>
                    <a:pt x="197" y="12075"/>
                    <a:pt x="257" y="11831"/>
                  </a:cubicBezTo>
                  <a:cubicBezTo>
                    <a:pt x="331" y="11532"/>
                    <a:pt x="390" y="11229"/>
                    <a:pt x="456" y="10928"/>
                  </a:cubicBezTo>
                  <a:cubicBezTo>
                    <a:pt x="511" y="10668"/>
                    <a:pt x="586" y="10413"/>
                    <a:pt x="647" y="10155"/>
                  </a:cubicBezTo>
                  <a:cubicBezTo>
                    <a:pt x="715" y="9881"/>
                    <a:pt x="736" y="9597"/>
                    <a:pt x="829" y="9329"/>
                  </a:cubicBezTo>
                  <a:cubicBezTo>
                    <a:pt x="864" y="9226"/>
                    <a:pt x="917" y="9129"/>
                    <a:pt x="936" y="9021"/>
                  </a:cubicBezTo>
                  <a:cubicBezTo>
                    <a:pt x="951" y="8900"/>
                    <a:pt x="892" y="8788"/>
                    <a:pt x="856" y="8676"/>
                  </a:cubicBezTo>
                  <a:cubicBezTo>
                    <a:pt x="780" y="8434"/>
                    <a:pt x="695" y="8194"/>
                    <a:pt x="620" y="7951"/>
                  </a:cubicBezTo>
                  <a:cubicBezTo>
                    <a:pt x="589" y="7852"/>
                    <a:pt x="549" y="7755"/>
                    <a:pt x="535" y="7652"/>
                  </a:cubicBezTo>
                  <a:cubicBezTo>
                    <a:pt x="524" y="7566"/>
                    <a:pt x="538" y="7478"/>
                    <a:pt x="573" y="7400"/>
                  </a:cubicBezTo>
                  <a:cubicBezTo>
                    <a:pt x="533" y="7336"/>
                    <a:pt x="489" y="7269"/>
                    <a:pt x="487" y="7191"/>
                  </a:cubicBezTo>
                  <a:cubicBezTo>
                    <a:pt x="485" y="7094"/>
                    <a:pt x="513" y="6999"/>
                    <a:pt x="526" y="6903"/>
                  </a:cubicBezTo>
                  <a:cubicBezTo>
                    <a:pt x="575" y="6602"/>
                    <a:pt x="665" y="6300"/>
                    <a:pt x="634" y="5992"/>
                  </a:cubicBezTo>
                  <a:cubicBezTo>
                    <a:pt x="624" y="5850"/>
                    <a:pt x="608" y="5709"/>
                    <a:pt x="607" y="5566"/>
                  </a:cubicBezTo>
                  <a:cubicBezTo>
                    <a:pt x="606" y="4891"/>
                    <a:pt x="614" y="4215"/>
                    <a:pt x="658" y="3541"/>
                  </a:cubicBezTo>
                  <a:cubicBezTo>
                    <a:pt x="671" y="3334"/>
                    <a:pt x="673" y="3125"/>
                    <a:pt x="698" y="2918"/>
                  </a:cubicBezTo>
                  <a:cubicBezTo>
                    <a:pt x="710" y="2821"/>
                    <a:pt x="724" y="2721"/>
                    <a:pt x="765" y="2630"/>
                  </a:cubicBezTo>
                  <a:cubicBezTo>
                    <a:pt x="797" y="2559"/>
                    <a:pt x="871" y="2520"/>
                    <a:pt x="940" y="2490"/>
                  </a:cubicBezTo>
                  <a:cubicBezTo>
                    <a:pt x="1050" y="2441"/>
                    <a:pt x="1170" y="2412"/>
                    <a:pt x="1270" y="2342"/>
                  </a:cubicBezTo>
                  <a:cubicBezTo>
                    <a:pt x="1289" y="2273"/>
                    <a:pt x="1279" y="2200"/>
                    <a:pt x="1269" y="2131"/>
                  </a:cubicBezTo>
                  <a:cubicBezTo>
                    <a:pt x="1241" y="1966"/>
                    <a:pt x="1162" y="1817"/>
                    <a:pt x="1122" y="1656"/>
                  </a:cubicBezTo>
                  <a:cubicBezTo>
                    <a:pt x="1091" y="1536"/>
                    <a:pt x="1085" y="1409"/>
                    <a:pt x="1112" y="1288"/>
                  </a:cubicBezTo>
                  <a:cubicBezTo>
                    <a:pt x="1145" y="1103"/>
                    <a:pt x="1306" y="978"/>
                    <a:pt x="1362" y="803"/>
                  </a:cubicBezTo>
                  <a:cubicBezTo>
                    <a:pt x="1384" y="731"/>
                    <a:pt x="1411" y="661"/>
                    <a:pt x="1442" y="593"/>
                  </a:cubicBezTo>
                  <a:cubicBezTo>
                    <a:pt x="1510" y="441"/>
                    <a:pt x="1583" y="285"/>
                    <a:pt x="1705" y="168"/>
                  </a:cubicBezTo>
                  <a:cubicBezTo>
                    <a:pt x="1778" y="95"/>
                    <a:pt x="1873" y="44"/>
                    <a:pt x="1975" y="27"/>
                  </a:cubicBezTo>
                  <a:close/>
                  <a:moveTo>
                    <a:pt x="1753" y="2256"/>
                  </a:moveTo>
                  <a:cubicBezTo>
                    <a:pt x="1758" y="2351"/>
                    <a:pt x="1774" y="2446"/>
                    <a:pt x="1773" y="2541"/>
                  </a:cubicBezTo>
                  <a:cubicBezTo>
                    <a:pt x="1775" y="2705"/>
                    <a:pt x="1801" y="2867"/>
                    <a:pt x="1815" y="3030"/>
                  </a:cubicBezTo>
                  <a:cubicBezTo>
                    <a:pt x="1830" y="3200"/>
                    <a:pt x="1853" y="3371"/>
                    <a:pt x="1873" y="3541"/>
                  </a:cubicBezTo>
                  <a:cubicBezTo>
                    <a:pt x="1906" y="3611"/>
                    <a:pt x="1947" y="3678"/>
                    <a:pt x="1981" y="3748"/>
                  </a:cubicBezTo>
                  <a:cubicBezTo>
                    <a:pt x="2050" y="3887"/>
                    <a:pt x="2141" y="4014"/>
                    <a:pt x="2221" y="4147"/>
                  </a:cubicBezTo>
                  <a:cubicBezTo>
                    <a:pt x="2266" y="4226"/>
                    <a:pt x="2322" y="4299"/>
                    <a:pt x="2372" y="4375"/>
                  </a:cubicBezTo>
                  <a:cubicBezTo>
                    <a:pt x="2387" y="4293"/>
                    <a:pt x="2395" y="4209"/>
                    <a:pt x="2414" y="4127"/>
                  </a:cubicBezTo>
                  <a:cubicBezTo>
                    <a:pt x="2448" y="4024"/>
                    <a:pt x="2477" y="3920"/>
                    <a:pt x="2509" y="3816"/>
                  </a:cubicBezTo>
                  <a:cubicBezTo>
                    <a:pt x="2532" y="3737"/>
                    <a:pt x="2568" y="3662"/>
                    <a:pt x="2576" y="3580"/>
                  </a:cubicBezTo>
                  <a:cubicBezTo>
                    <a:pt x="2596" y="3450"/>
                    <a:pt x="2612" y="3319"/>
                    <a:pt x="2653" y="3194"/>
                  </a:cubicBezTo>
                  <a:cubicBezTo>
                    <a:pt x="2681" y="3108"/>
                    <a:pt x="2693" y="3018"/>
                    <a:pt x="2704" y="2929"/>
                  </a:cubicBezTo>
                  <a:cubicBezTo>
                    <a:pt x="2707" y="2824"/>
                    <a:pt x="2701" y="2720"/>
                    <a:pt x="2710" y="2616"/>
                  </a:cubicBezTo>
                  <a:cubicBezTo>
                    <a:pt x="2723" y="2492"/>
                    <a:pt x="2689" y="2370"/>
                    <a:pt x="2678" y="2247"/>
                  </a:cubicBezTo>
                  <a:cubicBezTo>
                    <a:pt x="2631" y="2310"/>
                    <a:pt x="2585" y="2374"/>
                    <a:pt x="2522" y="2422"/>
                  </a:cubicBezTo>
                  <a:cubicBezTo>
                    <a:pt x="2415" y="2457"/>
                    <a:pt x="2303" y="2468"/>
                    <a:pt x="2191" y="2477"/>
                  </a:cubicBezTo>
                  <a:cubicBezTo>
                    <a:pt x="2128" y="2472"/>
                    <a:pt x="2066" y="2461"/>
                    <a:pt x="2004" y="2449"/>
                  </a:cubicBezTo>
                  <a:cubicBezTo>
                    <a:pt x="1962" y="2431"/>
                    <a:pt x="1922" y="2408"/>
                    <a:pt x="1883" y="2385"/>
                  </a:cubicBezTo>
                  <a:cubicBezTo>
                    <a:pt x="1837" y="2344"/>
                    <a:pt x="1797" y="2299"/>
                    <a:pt x="1753" y="2256"/>
                  </a:cubicBezTo>
                  <a:close/>
                  <a:moveTo>
                    <a:pt x="3297" y="3809"/>
                  </a:moveTo>
                  <a:cubicBezTo>
                    <a:pt x="3271" y="3893"/>
                    <a:pt x="3272" y="3981"/>
                    <a:pt x="3266" y="4068"/>
                  </a:cubicBezTo>
                  <a:cubicBezTo>
                    <a:pt x="3247" y="4150"/>
                    <a:pt x="3240" y="4233"/>
                    <a:pt x="3233" y="4317"/>
                  </a:cubicBezTo>
                  <a:cubicBezTo>
                    <a:pt x="3236" y="4385"/>
                    <a:pt x="3245" y="4454"/>
                    <a:pt x="3263" y="4520"/>
                  </a:cubicBezTo>
                  <a:cubicBezTo>
                    <a:pt x="3301" y="4619"/>
                    <a:pt x="3348" y="4715"/>
                    <a:pt x="3394" y="4810"/>
                  </a:cubicBezTo>
                  <a:cubicBezTo>
                    <a:pt x="3503" y="5017"/>
                    <a:pt x="3571" y="5241"/>
                    <a:pt x="3661" y="5456"/>
                  </a:cubicBezTo>
                  <a:cubicBezTo>
                    <a:pt x="3724" y="5604"/>
                    <a:pt x="3759" y="5762"/>
                    <a:pt x="3832" y="5907"/>
                  </a:cubicBezTo>
                  <a:cubicBezTo>
                    <a:pt x="3865" y="5877"/>
                    <a:pt x="3894" y="5844"/>
                    <a:pt x="3922" y="5810"/>
                  </a:cubicBezTo>
                  <a:cubicBezTo>
                    <a:pt x="3944" y="5755"/>
                    <a:pt x="3961" y="5694"/>
                    <a:pt x="3942" y="5636"/>
                  </a:cubicBezTo>
                  <a:cubicBezTo>
                    <a:pt x="3909" y="5433"/>
                    <a:pt x="3811" y="5250"/>
                    <a:pt x="3730" y="5063"/>
                  </a:cubicBezTo>
                  <a:cubicBezTo>
                    <a:pt x="3669" y="4894"/>
                    <a:pt x="3645" y="4715"/>
                    <a:pt x="3588" y="4545"/>
                  </a:cubicBezTo>
                  <a:cubicBezTo>
                    <a:pt x="3570" y="4479"/>
                    <a:pt x="3533" y="4420"/>
                    <a:pt x="3517" y="4353"/>
                  </a:cubicBezTo>
                  <a:cubicBezTo>
                    <a:pt x="3497" y="4276"/>
                    <a:pt x="3457" y="4205"/>
                    <a:pt x="3442" y="4126"/>
                  </a:cubicBezTo>
                  <a:cubicBezTo>
                    <a:pt x="3425" y="4063"/>
                    <a:pt x="3416" y="3997"/>
                    <a:pt x="3396" y="3935"/>
                  </a:cubicBezTo>
                  <a:cubicBezTo>
                    <a:pt x="3375" y="3891"/>
                    <a:pt x="3354" y="3847"/>
                    <a:pt x="3343" y="3800"/>
                  </a:cubicBezTo>
                  <a:cubicBezTo>
                    <a:pt x="3328" y="3803"/>
                    <a:pt x="3312" y="3806"/>
                    <a:pt x="3297" y="3809"/>
                  </a:cubicBezTo>
                  <a:close/>
                  <a:moveTo>
                    <a:pt x="1263" y="4158"/>
                  </a:moveTo>
                  <a:cubicBezTo>
                    <a:pt x="1256" y="4248"/>
                    <a:pt x="1252" y="4338"/>
                    <a:pt x="1248" y="4428"/>
                  </a:cubicBezTo>
                  <a:cubicBezTo>
                    <a:pt x="1237" y="4712"/>
                    <a:pt x="1217" y="4995"/>
                    <a:pt x="1201" y="5279"/>
                  </a:cubicBezTo>
                  <a:cubicBezTo>
                    <a:pt x="1183" y="5600"/>
                    <a:pt x="1136" y="5919"/>
                    <a:pt x="1123" y="6241"/>
                  </a:cubicBezTo>
                  <a:cubicBezTo>
                    <a:pt x="1115" y="6416"/>
                    <a:pt x="1104" y="6591"/>
                    <a:pt x="1095" y="6766"/>
                  </a:cubicBezTo>
                  <a:cubicBezTo>
                    <a:pt x="1096" y="6916"/>
                    <a:pt x="1099" y="7069"/>
                    <a:pt x="1059" y="7215"/>
                  </a:cubicBezTo>
                  <a:cubicBezTo>
                    <a:pt x="1040" y="7290"/>
                    <a:pt x="1062" y="7377"/>
                    <a:pt x="1012" y="7442"/>
                  </a:cubicBezTo>
                  <a:cubicBezTo>
                    <a:pt x="1018" y="7465"/>
                    <a:pt x="1022" y="7489"/>
                    <a:pt x="1034" y="7510"/>
                  </a:cubicBezTo>
                  <a:cubicBezTo>
                    <a:pt x="1056" y="7530"/>
                    <a:pt x="1081" y="7546"/>
                    <a:pt x="1105" y="7564"/>
                  </a:cubicBezTo>
                  <a:cubicBezTo>
                    <a:pt x="1106" y="7493"/>
                    <a:pt x="1101" y="7422"/>
                    <a:pt x="1113" y="7352"/>
                  </a:cubicBezTo>
                  <a:cubicBezTo>
                    <a:pt x="1138" y="7177"/>
                    <a:pt x="1158" y="7002"/>
                    <a:pt x="1197" y="6830"/>
                  </a:cubicBezTo>
                  <a:cubicBezTo>
                    <a:pt x="1217" y="6784"/>
                    <a:pt x="1248" y="6745"/>
                    <a:pt x="1272" y="6702"/>
                  </a:cubicBezTo>
                  <a:cubicBezTo>
                    <a:pt x="1250" y="6702"/>
                    <a:pt x="1229" y="6702"/>
                    <a:pt x="1207" y="6702"/>
                  </a:cubicBezTo>
                  <a:cubicBezTo>
                    <a:pt x="1226" y="6569"/>
                    <a:pt x="1246" y="6437"/>
                    <a:pt x="1264" y="6304"/>
                  </a:cubicBezTo>
                  <a:cubicBezTo>
                    <a:pt x="1291" y="6143"/>
                    <a:pt x="1292" y="5979"/>
                    <a:pt x="1306" y="5817"/>
                  </a:cubicBezTo>
                  <a:cubicBezTo>
                    <a:pt x="1323" y="5512"/>
                    <a:pt x="1349" y="5206"/>
                    <a:pt x="1407" y="4905"/>
                  </a:cubicBezTo>
                  <a:cubicBezTo>
                    <a:pt x="1414" y="4813"/>
                    <a:pt x="1414" y="4719"/>
                    <a:pt x="1392" y="4629"/>
                  </a:cubicBezTo>
                  <a:cubicBezTo>
                    <a:pt x="1355" y="4471"/>
                    <a:pt x="1294" y="4318"/>
                    <a:pt x="1263" y="4158"/>
                  </a:cubicBezTo>
                  <a:close/>
                  <a:moveTo>
                    <a:pt x="2233" y="6473"/>
                  </a:moveTo>
                  <a:cubicBezTo>
                    <a:pt x="2360" y="6469"/>
                    <a:pt x="2488" y="6467"/>
                    <a:pt x="2616" y="6461"/>
                  </a:cubicBezTo>
                  <a:cubicBezTo>
                    <a:pt x="2745" y="6450"/>
                    <a:pt x="2874" y="6438"/>
                    <a:pt x="3002" y="6426"/>
                  </a:cubicBezTo>
                  <a:cubicBezTo>
                    <a:pt x="2830" y="6071"/>
                    <a:pt x="2663" y="5715"/>
                    <a:pt x="2491" y="5361"/>
                  </a:cubicBezTo>
                  <a:cubicBezTo>
                    <a:pt x="2407" y="5732"/>
                    <a:pt x="2318" y="6102"/>
                    <a:pt x="2233" y="6473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Freeform 173">
              <a:extLst>
                <a:ext uri="{FF2B5EF4-FFF2-40B4-BE49-F238E27FC236}">
                  <a16:creationId xmlns:a16="http://schemas.microsoft.com/office/drawing/2014/main" id="{5F5ABD5D-6C40-40B7-90A8-C4B8B802F8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96" y="1679"/>
              <a:ext cx="869" cy="2452"/>
            </a:xfrm>
            <a:custGeom>
              <a:avLst/>
              <a:gdLst>
                <a:gd name="T0" fmla="*/ 1728 w 4458"/>
                <a:gd name="T1" fmla="*/ 0 h 12566"/>
                <a:gd name="T2" fmla="*/ 2020 w 4458"/>
                <a:gd name="T3" fmla="*/ 714 h 12566"/>
                <a:gd name="T4" fmla="*/ 2167 w 4458"/>
                <a:gd name="T5" fmla="*/ 547 h 12566"/>
                <a:gd name="T6" fmla="*/ 2075 w 4458"/>
                <a:gd name="T7" fmla="*/ 437 h 12566"/>
                <a:gd name="T8" fmla="*/ 2390 w 4458"/>
                <a:gd name="T9" fmla="*/ 418 h 12566"/>
                <a:gd name="T10" fmla="*/ 2317 w 4458"/>
                <a:gd name="T11" fmla="*/ 520 h 12566"/>
                <a:gd name="T12" fmla="*/ 2403 w 4458"/>
                <a:gd name="T13" fmla="*/ 1147 h 12566"/>
                <a:gd name="T14" fmla="*/ 2624 w 4458"/>
                <a:gd name="T15" fmla="*/ 284 h 12566"/>
                <a:gd name="T16" fmla="*/ 3290 w 4458"/>
                <a:gd name="T17" fmla="*/ 389 h 12566"/>
                <a:gd name="T18" fmla="*/ 4009 w 4458"/>
                <a:gd name="T19" fmla="*/ 835 h 12566"/>
                <a:gd name="T20" fmla="*/ 4118 w 4458"/>
                <a:gd name="T21" fmla="*/ 2946 h 12566"/>
                <a:gd name="T22" fmla="*/ 3719 w 4458"/>
                <a:gd name="T23" fmla="*/ 3815 h 12566"/>
                <a:gd name="T24" fmla="*/ 3563 w 4458"/>
                <a:gd name="T25" fmla="*/ 4582 h 12566"/>
                <a:gd name="T26" fmla="*/ 3524 w 4458"/>
                <a:gd name="T27" fmla="*/ 5034 h 12566"/>
                <a:gd name="T28" fmla="*/ 3704 w 4458"/>
                <a:gd name="T29" fmla="*/ 6394 h 12566"/>
                <a:gd name="T30" fmla="*/ 3965 w 4458"/>
                <a:gd name="T31" fmla="*/ 8795 h 12566"/>
                <a:gd name="T32" fmla="*/ 3911 w 4458"/>
                <a:gd name="T33" fmla="*/ 11371 h 12566"/>
                <a:gd name="T34" fmla="*/ 3808 w 4458"/>
                <a:gd name="T35" fmla="*/ 11456 h 12566"/>
                <a:gd name="T36" fmla="*/ 4269 w 4458"/>
                <a:gd name="T37" fmla="*/ 12088 h 12566"/>
                <a:gd name="T38" fmla="*/ 3808 w 4458"/>
                <a:gd name="T39" fmla="*/ 12462 h 12566"/>
                <a:gd name="T40" fmla="*/ 3404 w 4458"/>
                <a:gd name="T41" fmla="*/ 11997 h 12566"/>
                <a:gd name="T42" fmla="*/ 2970 w 4458"/>
                <a:gd name="T43" fmla="*/ 9923 h 12566"/>
                <a:gd name="T44" fmla="*/ 2965 w 4458"/>
                <a:gd name="T45" fmla="*/ 8771 h 12566"/>
                <a:gd name="T46" fmla="*/ 2835 w 4458"/>
                <a:gd name="T47" fmla="*/ 7996 h 12566"/>
                <a:gd name="T48" fmla="*/ 2627 w 4458"/>
                <a:gd name="T49" fmla="*/ 7465 h 12566"/>
                <a:gd name="T50" fmla="*/ 2077 w 4458"/>
                <a:gd name="T51" fmla="*/ 5734 h 12566"/>
                <a:gd name="T52" fmla="*/ 1840 w 4458"/>
                <a:gd name="T53" fmla="*/ 8384 h 12566"/>
                <a:gd name="T54" fmla="*/ 1822 w 4458"/>
                <a:gd name="T55" fmla="*/ 9832 h 12566"/>
                <a:gd name="T56" fmla="*/ 1970 w 4458"/>
                <a:gd name="T57" fmla="*/ 11019 h 12566"/>
                <a:gd name="T58" fmla="*/ 1855 w 4458"/>
                <a:gd name="T59" fmla="*/ 11035 h 12566"/>
                <a:gd name="T60" fmla="*/ 2053 w 4458"/>
                <a:gd name="T61" fmla="*/ 12053 h 12566"/>
                <a:gd name="T62" fmla="*/ 1329 w 4458"/>
                <a:gd name="T63" fmla="*/ 11913 h 12566"/>
                <a:gd name="T64" fmla="*/ 1228 w 4458"/>
                <a:gd name="T65" fmla="*/ 11397 h 12566"/>
                <a:gd name="T66" fmla="*/ 1170 w 4458"/>
                <a:gd name="T67" fmla="*/ 11100 h 12566"/>
                <a:gd name="T68" fmla="*/ 1026 w 4458"/>
                <a:gd name="T69" fmla="*/ 10196 h 12566"/>
                <a:gd name="T70" fmla="*/ 818 w 4458"/>
                <a:gd name="T71" fmla="*/ 6772 h 12566"/>
                <a:gd name="T72" fmla="*/ 749 w 4458"/>
                <a:gd name="T73" fmla="*/ 4458 h 12566"/>
                <a:gd name="T74" fmla="*/ 575 w 4458"/>
                <a:gd name="T75" fmla="*/ 4007 h 12566"/>
                <a:gd name="T76" fmla="*/ 22 w 4458"/>
                <a:gd name="T77" fmla="*/ 3047 h 12566"/>
                <a:gd name="T78" fmla="*/ 149 w 4458"/>
                <a:gd name="T79" fmla="*/ 1334 h 12566"/>
                <a:gd name="T80" fmla="*/ 631 w 4458"/>
                <a:gd name="T81" fmla="*/ 616 h 12566"/>
                <a:gd name="T82" fmla="*/ 1324 w 4458"/>
                <a:gd name="T83" fmla="*/ 225 h 12566"/>
                <a:gd name="T84" fmla="*/ 2011 w 4458"/>
                <a:gd name="T85" fmla="*/ 3886 h 12566"/>
                <a:gd name="T86" fmla="*/ 2457 w 4458"/>
                <a:gd name="T87" fmla="*/ 3651 h 12566"/>
                <a:gd name="T88" fmla="*/ 2261 w 4458"/>
                <a:gd name="T89" fmla="*/ 3599 h 125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458" h="12566">
                  <a:moveTo>
                    <a:pt x="1324" y="225"/>
                  </a:moveTo>
                  <a:cubicBezTo>
                    <a:pt x="1457" y="147"/>
                    <a:pt x="1593" y="74"/>
                    <a:pt x="1728" y="0"/>
                  </a:cubicBezTo>
                  <a:cubicBezTo>
                    <a:pt x="1778" y="124"/>
                    <a:pt x="1824" y="250"/>
                    <a:pt x="1885" y="369"/>
                  </a:cubicBezTo>
                  <a:cubicBezTo>
                    <a:pt x="1943" y="478"/>
                    <a:pt x="1975" y="599"/>
                    <a:pt x="2020" y="714"/>
                  </a:cubicBezTo>
                  <a:cubicBezTo>
                    <a:pt x="2038" y="754"/>
                    <a:pt x="2060" y="792"/>
                    <a:pt x="2077" y="832"/>
                  </a:cubicBezTo>
                  <a:cubicBezTo>
                    <a:pt x="2108" y="737"/>
                    <a:pt x="2138" y="642"/>
                    <a:pt x="2167" y="547"/>
                  </a:cubicBezTo>
                  <a:cubicBezTo>
                    <a:pt x="2145" y="533"/>
                    <a:pt x="2123" y="519"/>
                    <a:pt x="2104" y="502"/>
                  </a:cubicBezTo>
                  <a:cubicBezTo>
                    <a:pt x="2092" y="482"/>
                    <a:pt x="2084" y="459"/>
                    <a:pt x="2075" y="437"/>
                  </a:cubicBezTo>
                  <a:cubicBezTo>
                    <a:pt x="2136" y="390"/>
                    <a:pt x="2199" y="345"/>
                    <a:pt x="2261" y="298"/>
                  </a:cubicBezTo>
                  <a:cubicBezTo>
                    <a:pt x="2303" y="339"/>
                    <a:pt x="2347" y="379"/>
                    <a:pt x="2390" y="418"/>
                  </a:cubicBezTo>
                  <a:cubicBezTo>
                    <a:pt x="2391" y="446"/>
                    <a:pt x="2390" y="474"/>
                    <a:pt x="2391" y="502"/>
                  </a:cubicBezTo>
                  <a:cubicBezTo>
                    <a:pt x="2366" y="509"/>
                    <a:pt x="2342" y="515"/>
                    <a:pt x="2317" y="520"/>
                  </a:cubicBezTo>
                  <a:cubicBezTo>
                    <a:pt x="2352" y="635"/>
                    <a:pt x="2376" y="752"/>
                    <a:pt x="2398" y="870"/>
                  </a:cubicBezTo>
                  <a:cubicBezTo>
                    <a:pt x="2403" y="962"/>
                    <a:pt x="2397" y="1054"/>
                    <a:pt x="2403" y="1147"/>
                  </a:cubicBezTo>
                  <a:cubicBezTo>
                    <a:pt x="2432" y="974"/>
                    <a:pt x="2471" y="803"/>
                    <a:pt x="2516" y="634"/>
                  </a:cubicBezTo>
                  <a:cubicBezTo>
                    <a:pt x="2542" y="515"/>
                    <a:pt x="2582" y="399"/>
                    <a:pt x="2624" y="284"/>
                  </a:cubicBezTo>
                  <a:cubicBezTo>
                    <a:pt x="2649" y="203"/>
                    <a:pt x="2691" y="125"/>
                    <a:pt x="2694" y="38"/>
                  </a:cubicBezTo>
                  <a:cubicBezTo>
                    <a:pt x="2914" y="115"/>
                    <a:pt x="3081" y="289"/>
                    <a:pt x="3290" y="389"/>
                  </a:cubicBezTo>
                  <a:cubicBezTo>
                    <a:pt x="3481" y="475"/>
                    <a:pt x="3696" y="514"/>
                    <a:pt x="3867" y="640"/>
                  </a:cubicBezTo>
                  <a:cubicBezTo>
                    <a:pt x="3933" y="688"/>
                    <a:pt x="3985" y="756"/>
                    <a:pt x="4009" y="835"/>
                  </a:cubicBezTo>
                  <a:cubicBezTo>
                    <a:pt x="4111" y="1136"/>
                    <a:pt x="4118" y="1456"/>
                    <a:pt x="4131" y="1771"/>
                  </a:cubicBezTo>
                  <a:cubicBezTo>
                    <a:pt x="4142" y="2163"/>
                    <a:pt x="4142" y="2555"/>
                    <a:pt x="4118" y="2946"/>
                  </a:cubicBezTo>
                  <a:cubicBezTo>
                    <a:pt x="4109" y="3060"/>
                    <a:pt x="4108" y="3177"/>
                    <a:pt x="4066" y="3285"/>
                  </a:cubicBezTo>
                  <a:cubicBezTo>
                    <a:pt x="3991" y="3485"/>
                    <a:pt x="3845" y="3646"/>
                    <a:pt x="3719" y="3815"/>
                  </a:cubicBezTo>
                  <a:cubicBezTo>
                    <a:pt x="3595" y="3981"/>
                    <a:pt x="3467" y="4145"/>
                    <a:pt x="3354" y="4319"/>
                  </a:cubicBezTo>
                  <a:cubicBezTo>
                    <a:pt x="3388" y="4431"/>
                    <a:pt x="3491" y="4496"/>
                    <a:pt x="3563" y="4582"/>
                  </a:cubicBezTo>
                  <a:cubicBezTo>
                    <a:pt x="3591" y="4615"/>
                    <a:pt x="3616" y="4659"/>
                    <a:pt x="3604" y="4703"/>
                  </a:cubicBezTo>
                  <a:cubicBezTo>
                    <a:pt x="3535" y="4798"/>
                    <a:pt x="3525" y="4920"/>
                    <a:pt x="3524" y="5034"/>
                  </a:cubicBezTo>
                  <a:cubicBezTo>
                    <a:pt x="3520" y="5252"/>
                    <a:pt x="3553" y="5469"/>
                    <a:pt x="3594" y="5683"/>
                  </a:cubicBezTo>
                  <a:cubicBezTo>
                    <a:pt x="3646" y="5917"/>
                    <a:pt x="3665" y="6157"/>
                    <a:pt x="3704" y="6394"/>
                  </a:cubicBezTo>
                  <a:cubicBezTo>
                    <a:pt x="3795" y="7030"/>
                    <a:pt x="3850" y="7670"/>
                    <a:pt x="3909" y="8309"/>
                  </a:cubicBezTo>
                  <a:cubicBezTo>
                    <a:pt x="3924" y="8471"/>
                    <a:pt x="3974" y="8631"/>
                    <a:pt x="3965" y="8795"/>
                  </a:cubicBezTo>
                  <a:cubicBezTo>
                    <a:pt x="3936" y="9425"/>
                    <a:pt x="3844" y="10052"/>
                    <a:pt x="3851" y="10683"/>
                  </a:cubicBezTo>
                  <a:cubicBezTo>
                    <a:pt x="3855" y="10913"/>
                    <a:pt x="3870" y="11144"/>
                    <a:pt x="3911" y="11371"/>
                  </a:cubicBezTo>
                  <a:cubicBezTo>
                    <a:pt x="3917" y="11389"/>
                    <a:pt x="3910" y="11407"/>
                    <a:pt x="3903" y="11424"/>
                  </a:cubicBezTo>
                  <a:cubicBezTo>
                    <a:pt x="3872" y="11435"/>
                    <a:pt x="3837" y="11439"/>
                    <a:pt x="3808" y="11456"/>
                  </a:cubicBezTo>
                  <a:cubicBezTo>
                    <a:pt x="3792" y="11465"/>
                    <a:pt x="3806" y="11484"/>
                    <a:pt x="3811" y="11496"/>
                  </a:cubicBezTo>
                  <a:cubicBezTo>
                    <a:pt x="3932" y="11716"/>
                    <a:pt x="4117" y="11890"/>
                    <a:pt x="4269" y="12088"/>
                  </a:cubicBezTo>
                  <a:cubicBezTo>
                    <a:pt x="4356" y="12202"/>
                    <a:pt x="4433" y="12330"/>
                    <a:pt x="4458" y="12474"/>
                  </a:cubicBezTo>
                  <a:cubicBezTo>
                    <a:pt x="4252" y="12566"/>
                    <a:pt x="4014" y="12540"/>
                    <a:pt x="3808" y="12462"/>
                  </a:cubicBezTo>
                  <a:cubicBezTo>
                    <a:pt x="3698" y="12419"/>
                    <a:pt x="3591" y="12367"/>
                    <a:pt x="3492" y="12303"/>
                  </a:cubicBezTo>
                  <a:cubicBezTo>
                    <a:pt x="3429" y="12213"/>
                    <a:pt x="3433" y="12097"/>
                    <a:pt x="3404" y="11997"/>
                  </a:cubicBezTo>
                  <a:cubicBezTo>
                    <a:pt x="3273" y="11932"/>
                    <a:pt x="3115" y="11898"/>
                    <a:pt x="3020" y="11777"/>
                  </a:cubicBezTo>
                  <a:cubicBezTo>
                    <a:pt x="3069" y="11158"/>
                    <a:pt x="2934" y="10542"/>
                    <a:pt x="2970" y="9923"/>
                  </a:cubicBezTo>
                  <a:cubicBezTo>
                    <a:pt x="2985" y="9772"/>
                    <a:pt x="3021" y="9623"/>
                    <a:pt x="3021" y="9471"/>
                  </a:cubicBezTo>
                  <a:cubicBezTo>
                    <a:pt x="3019" y="9237"/>
                    <a:pt x="2973" y="9005"/>
                    <a:pt x="2965" y="8771"/>
                  </a:cubicBezTo>
                  <a:cubicBezTo>
                    <a:pt x="2960" y="8599"/>
                    <a:pt x="3015" y="8429"/>
                    <a:pt x="2993" y="8257"/>
                  </a:cubicBezTo>
                  <a:cubicBezTo>
                    <a:pt x="2974" y="8152"/>
                    <a:pt x="2881" y="8087"/>
                    <a:pt x="2835" y="7996"/>
                  </a:cubicBezTo>
                  <a:cubicBezTo>
                    <a:pt x="2783" y="7895"/>
                    <a:pt x="2811" y="7774"/>
                    <a:pt x="2758" y="7674"/>
                  </a:cubicBezTo>
                  <a:cubicBezTo>
                    <a:pt x="2722" y="7599"/>
                    <a:pt x="2651" y="7546"/>
                    <a:pt x="2627" y="7465"/>
                  </a:cubicBezTo>
                  <a:cubicBezTo>
                    <a:pt x="2584" y="7320"/>
                    <a:pt x="2604" y="7167"/>
                    <a:pt x="2574" y="7020"/>
                  </a:cubicBezTo>
                  <a:cubicBezTo>
                    <a:pt x="2489" y="6564"/>
                    <a:pt x="2263" y="6154"/>
                    <a:pt x="2077" y="5734"/>
                  </a:cubicBezTo>
                  <a:cubicBezTo>
                    <a:pt x="1950" y="6025"/>
                    <a:pt x="1974" y="6350"/>
                    <a:pt x="1994" y="6659"/>
                  </a:cubicBezTo>
                  <a:cubicBezTo>
                    <a:pt x="2034" y="7239"/>
                    <a:pt x="1877" y="7808"/>
                    <a:pt x="1840" y="8384"/>
                  </a:cubicBezTo>
                  <a:cubicBezTo>
                    <a:pt x="1825" y="8563"/>
                    <a:pt x="1830" y="8742"/>
                    <a:pt x="1827" y="8920"/>
                  </a:cubicBezTo>
                  <a:cubicBezTo>
                    <a:pt x="1821" y="9224"/>
                    <a:pt x="1816" y="9528"/>
                    <a:pt x="1822" y="9832"/>
                  </a:cubicBezTo>
                  <a:cubicBezTo>
                    <a:pt x="1833" y="10188"/>
                    <a:pt x="1855" y="10546"/>
                    <a:pt x="1938" y="10893"/>
                  </a:cubicBezTo>
                  <a:cubicBezTo>
                    <a:pt x="1948" y="10935"/>
                    <a:pt x="1964" y="10976"/>
                    <a:pt x="1970" y="11019"/>
                  </a:cubicBezTo>
                  <a:cubicBezTo>
                    <a:pt x="1975" y="11037"/>
                    <a:pt x="1964" y="11052"/>
                    <a:pt x="1951" y="11063"/>
                  </a:cubicBezTo>
                  <a:cubicBezTo>
                    <a:pt x="1920" y="11053"/>
                    <a:pt x="1888" y="11042"/>
                    <a:pt x="1855" y="11035"/>
                  </a:cubicBezTo>
                  <a:cubicBezTo>
                    <a:pt x="1872" y="11292"/>
                    <a:pt x="2007" y="11520"/>
                    <a:pt x="2058" y="11770"/>
                  </a:cubicBezTo>
                  <a:cubicBezTo>
                    <a:pt x="2077" y="11863"/>
                    <a:pt x="2078" y="11961"/>
                    <a:pt x="2053" y="12053"/>
                  </a:cubicBezTo>
                  <a:cubicBezTo>
                    <a:pt x="1927" y="12125"/>
                    <a:pt x="1777" y="12161"/>
                    <a:pt x="1634" y="12129"/>
                  </a:cubicBezTo>
                  <a:cubicBezTo>
                    <a:pt x="1508" y="12102"/>
                    <a:pt x="1399" y="12020"/>
                    <a:pt x="1329" y="11913"/>
                  </a:cubicBezTo>
                  <a:cubicBezTo>
                    <a:pt x="1314" y="11889"/>
                    <a:pt x="1293" y="11866"/>
                    <a:pt x="1292" y="11836"/>
                  </a:cubicBezTo>
                  <a:cubicBezTo>
                    <a:pt x="1280" y="11688"/>
                    <a:pt x="1249" y="11543"/>
                    <a:pt x="1228" y="11397"/>
                  </a:cubicBezTo>
                  <a:cubicBezTo>
                    <a:pt x="1216" y="11310"/>
                    <a:pt x="1220" y="11214"/>
                    <a:pt x="1274" y="11140"/>
                  </a:cubicBezTo>
                  <a:cubicBezTo>
                    <a:pt x="1239" y="11127"/>
                    <a:pt x="1193" y="11133"/>
                    <a:pt x="1170" y="11100"/>
                  </a:cubicBezTo>
                  <a:cubicBezTo>
                    <a:pt x="1083" y="10989"/>
                    <a:pt x="1054" y="10846"/>
                    <a:pt x="1045" y="10709"/>
                  </a:cubicBezTo>
                  <a:cubicBezTo>
                    <a:pt x="1035" y="10538"/>
                    <a:pt x="1044" y="10366"/>
                    <a:pt x="1026" y="10196"/>
                  </a:cubicBezTo>
                  <a:cubicBezTo>
                    <a:pt x="947" y="9569"/>
                    <a:pt x="912" y="8938"/>
                    <a:pt x="884" y="8308"/>
                  </a:cubicBezTo>
                  <a:cubicBezTo>
                    <a:pt x="859" y="7796"/>
                    <a:pt x="848" y="7283"/>
                    <a:pt x="818" y="6772"/>
                  </a:cubicBezTo>
                  <a:cubicBezTo>
                    <a:pt x="766" y="6156"/>
                    <a:pt x="632" y="5542"/>
                    <a:pt x="675" y="4921"/>
                  </a:cubicBezTo>
                  <a:cubicBezTo>
                    <a:pt x="682" y="4764"/>
                    <a:pt x="701" y="4607"/>
                    <a:pt x="749" y="4458"/>
                  </a:cubicBezTo>
                  <a:cubicBezTo>
                    <a:pt x="765" y="4392"/>
                    <a:pt x="792" y="4328"/>
                    <a:pt x="797" y="4260"/>
                  </a:cubicBezTo>
                  <a:cubicBezTo>
                    <a:pt x="735" y="4166"/>
                    <a:pt x="652" y="4088"/>
                    <a:pt x="575" y="4007"/>
                  </a:cubicBezTo>
                  <a:cubicBezTo>
                    <a:pt x="435" y="3867"/>
                    <a:pt x="295" y="3723"/>
                    <a:pt x="191" y="3553"/>
                  </a:cubicBezTo>
                  <a:cubicBezTo>
                    <a:pt x="96" y="3401"/>
                    <a:pt x="36" y="3226"/>
                    <a:pt x="22" y="3047"/>
                  </a:cubicBezTo>
                  <a:cubicBezTo>
                    <a:pt x="0" y="2763"/>
                    <a:pt x="33" y="2479"/>
                    <a:pt x="58" y="2196"/>
                  </a:cubicBezTo>
                  <a:cubicBezTo>
                    <a:pt x="88" y="1909"/>
                    <a:pt x="101" y="1619"/>
                    <a:pt x="149" y="1334"/>
                  </a:cubicBezTo>
                  <a:cubicBezTo>
                    <a:pt x="173" y="1200"/>
                    <a:pt x="201" y="1063"/>
                    <a:pt x="271" y="944"/>
                  </a:cubicBezTo>
                  <a:cubicBezTo>
                    <a:pt x="356" y="802"/>
                    <a:pt x="491" y="700"/>
                    <a:pt x="631" y="616"/>
                  </a:cubicBezTo>
                  <a:cubicBezTo>
                    <a:pt x="763" y="537"/>
                    <a:pt x="902" y="472"/>
                    <a:pt x="1037" y="398"/>
                  </a:cubicBezTo>
                  <a:cubicBezTo>
                    <a:pt x="1135" y="345"/>
                    <a:pt x="1227" y="281"/>
                    <a:pt x="1324" y="225"/>
                  </a:cubicBezTo>
                  <a:close/>
                  <a:moveTo>
                    <a:pt x="2111" y="3423"/>
                  </a:moveTo>
                  <a:cubicBezTo>
                    <a:pt x="2087" y="3579"/>
                    <a:pt x="2042" y="3731"/>
                    <a:pt x="2011" y="3886"/>
                  </a:cubicBezTo>
                  <a:cubicBezTo>
                    <a:pt x="2176" y="3917"/>
                    <a:pt x="2344" y="3901"/>
                    <a:pt x="2511" y="3904"/>
                  </a:cubicBezTo>
                  <a:cubicBezTo>
                    <a:pt x="2494" y="3820"/>
                    <a:pt x="2473" y="3736"/>
                    <a:pt x="2457" y="3651"/>
                  </a:cubicBezTo>
                  <a:cubicBezTo>
                    <a:pt x="2448" y="3579"/>
                    <a:pt x="2444" y="3506"/>
                    <a:pt x="2437" y="3433"/>
                  </a:cubicBezTo>
                  <a:cubicBezTo>
                    <a:pt x="2378" y="3489"/>
                    <a:pt x="2319" y="3544"/>
                    <a:pt x="2261" y="3599"/>
                  </a:cubicBezTo>
                  <a:cubicBezTo>
                    <a:pt x="2210" y="3541"/>
                    <a:pt x="2161" y="3482"/>
                    <a:pt x="2111" y="3423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Freeform 174">
              <a:extLst>
                <a:ext uri="{FF2B5EF4-FFF2-40B4-BE49-F238E27FC236}">
                  <a16:creationId xmlns:a16="http://schemas.microsoft.com/office/drawing/2014/main" id="{66B713E7-91CA-491E-BE86-72FCD889A8B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36" y="1775"/>
              <a:ext cx="907" cy="2316"/>
            </a:xfrm>
            <a:custGeom>
              <a:avLst/>
              <a:gdLst>
                <a:gd name="T0" fmla="*/ 2391 w 4657"/>
                <a:gd name="T1" fmla="*/ 0 h 11868"/>
                <a:gd name="T2" fmla="*/ 2700 w 4657"/>
                <a:gd name="T3" fmla="*/ 532 h 11868"/>
                <a:gd name="T4" fmla="*/ 3074 w 4657"/>
                <a:gd name="T5" fmla="*/ 1458 h 11868"/>
                <a:gd name="T6" fmla="*/ 3053 w 4657"/>
                <a:gd name="T7" fmla="*/ 754 h 11868"/>
                <a:gd name="T8" fmla="*/ 3091 w 4657"/>
                <a:gd name="T9" fmla="*/ 403 h 11868"/>
                <a:gd name="T10" fmla="*/ 3310 w 4657"/>
                <a:gd name="T11" fmla="*/ 546 h 11868"/>
                <a:gd name="T12" fmla="*/ 3297 w 4657"/>
                <a:gd name="T13" fmla="*/ 693 h 11868"/>
                <a:gd name="T14" fmla="*/ 3591 w 4657"/>
                <a:gd name="T15" fmla="*/ 1799 h 11868"/>
                <a:gd name="T16" fmla="*/ 3802 w 4657"/>
                <a:gd name="T17" fmla="*/ 3341 h 11868"/>
                <a:gd name="T18" fmla="*/ 3870 w 4657"/>
                <a:gd name="T19" fmla="*/ 3532 h 11868"/>
                <a:gd name="T20" fmla="*/ 3834 w 4657"/>
                <a:gd name="T21" fmla="*/ 2367 h 11868"/>
                <a:gd name="T22" fmla="*/ 3787 w 4657"/>
                <a:gd name="T23" fmla="*/ 1607 h 11868"/>
                <a:gd name="T24" fmla="*/ 3429 w 4657"/>
                <a:gd name="T25" fmla="*/ 503 h 11868"/>
                <a:gd name="T26" fmla="*/ 3328 w 4657"/>
                <a:gd name="T27" fmla="*/ 236 h 11868"/>
                <a:gd name="T28" fmla="*/ 3843 w 4657"/>
                <a:gd name="T29" fmla="*/ 563 h 11868"/>
                <a:gd name="T30" fmla="*/ 4119 w 4657"/>
                <a:gd name="T31" fmla="*/ 979 h 11868"/>
                <a:gd name="T32" fmla="*/ 4133 w 4657"/>
                <a:gd name="T33" fmla="*/ 2680 h 11868"/>
                <a:gd name="T34" fmla="*/ 4615 w 4657"/>
                <a:gd name="T35" fmla="*/ 3865 h 11868"/>
                <a:gd name="T36" fmla="*/ 4296 w 4657"/>
                <a:gd name="T37" fmla="*/ 4634 h 11868"/>
                <a:gd name="T38" fmla="*/ 4091 w 4657"/>
                <a:gd name="T39" fmla="*/ 4994 h 11868"/>
                <a:gd name="T40" fmla="*/ 3945 w 4657"/>
                <a:gd name="T41" fmla="*/ 5281 h 11868"/>
                <a:gd name="T42" fmla="*/ 3898 w 4657"/>
                <a:gd name="T43" fmla="*/ 5943 h 11868"/>
                <a:gd name="T44" fmla="*/ 3856 w 4657"/>
                <a:gd name="T45" fmla="*/ 7842 h 11868"/>
                <a:gd name="T46" fmla="*/ 3733 w 4657"/>
                <a:gd name="T47" fmla="*/ 8854 h 11868"/>
                <a:gd name="T48" fmla="*/ 3883 w 4657"/>
                <a:gd name="T49" fmla="*/ 10178 h 11868"/>
                <a:gd name="T50" fmla="*/ 4001 w 4657"/>
                <a:gd name="T51" fmla="*/ 11002 h 11868"/>
                <a:gd name="T52" fmla="*/ 4494 w 4657"/>
                <a:gd name="T53" fmla="*/ 11223 h 11868"/>
                <a:gd name="T54" fmla="*/ 4491 w 4657"/>
                <a:gd name="T55" fmla="*/ 11542 h 11868"/>
                <a:gd name="T56" fmla="*/ 3415 w 4657"/>
                <a:gd name="T57" fmla="*/ 11404 h 11868"/>
                <a:gd name="T58" fmla="*/ 2817 w 4657"/>
                <a:gd name="T59" fmla="*/ 11383 h 11868"/>
                <a:gd name="T60" fmla="*/ 2657 w 4657"/>
                <a:gd name="T61" fmla="*/ 9146 h 11868"/>
                <a:gd name="T62" fmla="*/ 2586 w 4657"/>
                <a:gd name="T63" fmla="*/ 10429 h 11868"/>
                <a:gd name="T64" fmla="*/ 2417 w 4657"/>
                <a:gd name="T65" fmla="*/ 11053 h 11868"/>
                <a:gd name="T66" fmla="*/ 2398 w 4657"/>
                <a:gd name="T67" fmla="*/ 11703 h 11868"/>
                <a:gd name="T68" fmla="*/ 1658 w 4657"/>
                <a:gd name="T69" fmla="*/ 11763 h 11868"/>
                <a:gd name="T70" fmla="*/ 1759 w 4657"/>
                <a:gd name="T71" fmla="*/ 11166 h 11868"/>
                <a:gd name="T72" fmla="*/ 1642 w 4657"/>
                <a:gd name="T73" fmla="*/ 10479 h 11868"/>
                <a:gd name="T74" fmla="*/ 1417 w 4657"/>
                <a:gd name="T75" fmla="*/ 9047 h 11868"/>
                <a:gd name="T76" fmla="*/ 0 w 4657"/>
                <a:gd name="T77" fmla="*/ 6330 h 11868"/>
                <a:gd name="T78" fmla="*/ 1086 w 4657"/>
                <a:gd name="T79" fmla="*/ 5879 h 11868"/>
                <a:gd name="T80" fmla="*/ 1099 w 4657"/>
                <a:gd name="T81" fmla="*/ 4254 h 11868"/>
                <a:gd name="T82" fmla="*/ 1147 w 4657"/>
                <a:gd name="T83" fmla="*/ 1331 h 11868"/>
                <a:gd name="T84" fmla="*/ 1409 w 4657"/>
                <a:gd name="T85" fmla="*/ 523 h 11868"/>
                <a:gd name="T86" fmla="*/ 1081 w 4657"/>
                <a:gd name="T87" fmla="*/ 6107 h 11868"/>
                <a:gd name="T88" fmla="*/ 1020 w 4657"/>
                <a:gd name="T89" fmla="*/ 6390 h 11868"/>
                <a:gd name="T90" fmla="*/ 1350 w 4657"/>
                <a:gd name="T91" fmla="*/ 6184 h 11868"/>
                <a:gd name="T92" fmla="*/ 1179 w 4657"/>
                <a:gd name="T93" fmla="*/ 6167 h 118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657" h="11868">
                  <a:moveTo>
                    <a:pt x="1888" y="280"/>
                  </a:moveTo>
                  <a:cubicBezTo>
                    <a:pt x="2068" y="213"/>
                    <a:pt x="2259" y="146"/>
                    <a:pt x="2391" y="0"/>
                  </a:cubicBezTo>
                  <a:cubicBezTo>
                    <a:pt x="2408" y="80"/>
                    <a:pt x="2468" y="141"/>
                    <a:pt x="2505" y="213"/>
                  </a:cubicBezTo>
                  <a:cubicBezTo>
                    <a:pt x="2578" y="314"/>
                    <a:pt x="2645" y="419"/>
                    <a:pt x="2700" y="532"/>
                  </a:cubicBezTo>
                  <a:cubicBezTo>
                    <a:pt x="2789" y="726"/>
                    <a:pt x="2872" y="923"/>
                    <a:pt x="2943" y="1125"/>
                  </a:cubicBezTo>
                  <a:cubicBezTo>
                    <a:pt x="2982" y="1238"/>
                    <a:pt x="3035" y="1345"/>
                    <a:pt x="3074" y="1458"/>
                  </a:cubicBezTo>
                  <a:cubicBezTo>
                    <a:pt x="3076" y="1244"/>
                    <a:pt x="3066" y="1030"/>
                    <a:pt x="3066" y="816"/>
                  </a:cubicBezTo>
                  <a:cubicBezTo>
                    <a:pt x="3063" y="796"/>
                    <a:pt x="3071" y="769"/>
                    <a:pt x="3053" y="754"/>
                  </a:cubicBezTo>
                  <a:cubicBezTo>
                    <a:pt x="2997" y="705"/>
                    <a:pt x="2934" y="665"/>
                    <a:pt x="2888" y="605"/>
                  </a:cubicBezTo>
                  <a:cubicBezTo>
                    <a:pt x="2956" y="538"/>
                    <a:pt x="3024" y="471"/>
                    <a:pt x="3091" y="403"/>
                  </a:cubicBezTo>
                  <a:cubicBezTo>
                    <a:pt x="3135" y="414"/>
                    <a:pt x="3179" y="429"/>
                    <a:pt x="3221" y="449"/>
                  </a:cubicBezTo>
                  <a:cubicBezTo>
                    <a:pt x="3253" y="479"/>
                    <a:pt x="3282" y="512"/>
                    <a:pt x="3310" y="546"/>
                  </a:cubicBezTo>
                  <a:cubicBezTo>
                    <a:pt x="3323" y="574"/>
                    <a:pt x="3324" y="607"/>
                    <a:pt x="3327" y="638"/>
                  </a:cubicBezTo>
                  <a:cubicBezTo>
                    <a:pt x="3319" y="657"/>
                    <a:pt x="3308" y="675"/>
                    <a:pt x="3297" y="693"/>
                  </a:cubicBezTo>
                  <a:cubicBezTo>
                    <a:pt x="3370" y="923"/>
                    <a:pt x="3434" y="1157"/>
                    <a:pt x="3504" y="1388"/>
                  </a:cubicBezTo>
                  <a:cubicBezTo>
                    <a:pt x="3536" y="1524"/>
                    <a:pt x="3563" y="1662"/>
                    <a:pt x="3591" y="1799"/>
                  </a:cubicBezTo>
                  <a:cubicBezTo>
                    <a:pt x="3626" y="2075"/>
                    <a:pt x="3656" y="2352"/>
                    <a:pt x="3691" y="2629"/>
                  </a:cubicBezTo>
                  <a:cubicBezTo>
                    <a:pt x="3732" y="2866"/>
                    <a:pt x="3769" y="3103"/>
                    <a:pt x="3802" y="3341"/>
                  </a:cubicBezTo>
                  <a:cubicBezTo>
                    <a:pt x="3815" y="3409"/>
                    <a:pt x="3817" y="3478"/>
                    <a:pt x="3820" y="3546"/>
                  </a:cubicBezTo>
                  <a:cubicBezTo>
                    <a:pt x="3836" y="3541"/>
                    <a:pt x="3853" y="3536"/>
                    <a:pt x="3870" y="3532"/>
                  </a:cubicBezTo>
                  <a:cubicBezTo>
                    <a:pt x="3872" y="3443"/>
                    <a:pt x="3876" y="3355"/>
                    <a:pt x="3879" y="3266"/>
                  </a:cubicBezTo>
                  <a:cubicBezTo>
                    <a:pt x="3865" y="2966"/>
                    <a:pt x="3849" y="2667"/>
                    <a:pt x="3834" y="2367"/>
                  </a:cubicBezTo>
                  <a:cubicBezTo>
                    <a:pt x="3823" y="2209"/>
                    <a:pt x="3823" y="2050"/>
                    <a:pt x="3823" y="1892"/>
                  </a:cubicBezTo>
                  <a:cubicBezTo>
                    <a:pt x="3813" y="1797"/>
                    <a:pt x="3815" y="1699"/>
                    <a:pt x="3787" y="1607"/>
                  </a:cubicBezTo>
                  <a:cubicBezTo>
                    <a:pt x="3720" y="1355"/>
                    <a:pt x="3658" y="1102"/>
                    <a:pt x="3577" y="855"/>
                  </a:cubicBezTo>
                  <a:cubicBezTo>
                    <a:pt x="3528" y="737"/>
                    <a:pt x="3501" y="609"/>
                    <a:pt x="3429" y="503"/>
                  </a:cubicBezTo>
                  <a:cubicBezTo>
                    <a:pt x="3404" y="460"/>
                    <a:pt x="3378" y="418"/>
                    <a:pt x="3353" y="376"/>
                  </a:cubicBezTo>
                  <a:cubicBezTo>
                    <a:pt x="3325" y="335"/>
                    <a:pt x="3333" y="283"/>
                    <a:pt x="3328" y="236"/>
                  </a:cubicBezTo>
                  <a:cubicBezTo>
                    <a:pt x="3360" y="295"/>
                    <a:pt x="3411" y="340"/>
                    <a:pt x="3467" y="376"/>
                  </a:cubicBezTo>
                  <a:cubicBezTo>
                    <a:pt x="3586" y="451"/>
                    <a:pt x="3722" y="491"/>
                    <a:pt x="3843" y="563"/>
                  </a:cubicBezTo>
                  <a:cubicBezTo>
                    <a:pt x="3910" y="603"/>
                    <a:pt x="3981" y="638"/>
                    <a:pt x="4034" y="697"/>
                  </a:cubicBezTo>
                  <a:cubicBezTo>
                    <a:pt x="4094" y="778"/>
                    <a:pt x="4110" y="881"/>
                    <a:pt x="4119" y="979"/>
                  </a:cubicBezTo>
                  <a:cubicBezTo>
                    <a:pt x="4139" y="1306"/>
                    <a:pt x="4058" y="1628"/>
                    <a:pt x="4055" y="1954"/>
                  </a:cubicBezTo>
                  <a:cubicBezTo>
                    <a:pt x="4060" y="2197"/>
                    <a:pt x="4082" y="2442"/>
                    <a:pt x="4133" y="2680"/>
                  </a:cubicBezTo>
                  <a:cubicBezTo>
                    <a:pt x="4182" y="2914"/>
                    <a:pt x="4301" y="3124"/>
                    <a:pt x="4411" y="3333"/>
                  </a:cubicBezTo>
                  <a:cubicBezTo>
                    <a:pt x="4499" y="3501"/>
                    <a:pt x="4590" y="3674"/>
                    <a:pt x="4615" y="3865"/>
                  </a:cubicBezTo>
                  <a:cubicBezTo>
                    <a:pt x="4634" y="4037"/>
                    <a:pt x="4626" y="4219"/>
                    <a:pt x="4549" y="4377"/>
                  </a:cubicBezTo>
                  <a:cubicBezTo>
                    <a:pt x="4496" y="4488"/>
                    <a:pt x="4404" y="4578"/>
                    <a:pt x="4296" y="4634"/>
                  </a:cubicBezTo>
                  <a:cubicBezTo>
                    <a:pt x="4274" y="4745"/>
                    <a:pt x="4250" y="4864"/>
                    <a:pt x="4175" y="4953"/>
                  </a:cubicBezTo>
                  <a:cubicBezTo>
                    <a:pt x="4155" y="4977"/>
                    <a:pt x="4125" y="5003"/>
                    <a:pt x="4091" y="4994"/>
                  </a:cubicBezTo>
                  <a:cubicBezTo>
                    <a:pt x="4048" y="4971"/>
                    <a:pt x="4028" y="4917"/>
                    <a:pt x="3976" y="4910"/>
                  </a:cubicBezTo>
                  <a:cubicBezTo>
                    <a:pt x="3915" y="5024"/>
                    <a:pt x="3920" y="5158"/>
                    <a:pt x="3945" y="5281"/>
                  </a:cubicBezTo>
                  <a:cubicBezTo>
                    <a:pt x="3967" y="5411"/>
                    <a:pt x="4004" y="5550"/>
                    <a:pt x="3950" y="5678"/>
                  </a:cubicBezTo>
                  <a:cubicBezTo>
                    <a:pt x="3913" y="5762"/>
                    <a:pt x="3907" y="5854"/>
                    <a:pt x="3898" y="5943"/>
                  </a:cubicBezTo>
                  <a:cubicBezTo>
                    <a:pt x="3869" y="6258"/>
                    <a:pt x="3881" y="6575"/>
                    <a:pt x="3883" y="6891"/>
                  </a:cubicBezTo>
                  <a:cubicBezTo>
                    <a:pt x="3888" y="7208"/>
                    <a:pt x="3870" y="7525"/>
                    <a:pt x="3856" y="7842"/>
                  </a:cubicBezTo>
                  <a:cubicBezTo>
                    <a:pt x="3845" y="7997"/>
                    <a:pt x="3837" y="8152"/>
                    <a:pt x="3810" y="8305"/>
                  </a:cubicBezTo>
                  <a:cubicBezTo>
                    <a:pt x="3777" y="8487"/>
                    <a:pt x="3739" y="8669"/>
                    <a:pt x="3733" y="8854"/>
                  </a:cubicBezTo>
                  <a:cubicBezTo>
                    <a:pt x="3725" y="9127"/>
                    <a:pt x="3789" y="9395"/>
                    <a:pt x="3831" y="9664"/>
                  </a:cubicBezTo>
                  <a:cubicBezTo>
                    <a:pt x="3858" y="9834"/>
                    <a:pt x="3882" y="10006"/>
                    <a:pt x="3883" y="10178"/>
                  </a:cubicBezTo>
                  <a:cubicBezTo>
                    <a:pt x="3887" y="10345"/>
                    <a:pt x="3875" y="10512"/>
                    <a:pt x="3888" y="10679"/>
                  </a:cubicBezTo>
                  <a:cubicBezTo>
                    <a:pt x="3898" y="10793"/>
                    <a:pt x="3921" y="10914"/>
                    <a:pt x="4001" y="11002"/>
                  </a:cubicBezTo>
                  <a:cubicBezTo>
                    <a:pt x="4030" y="11030"/>
                    <a:pt x="4061" y="11062"/>
                    <a:pt x="4102" y="11067"/>
                  </a:cubicBezTo>
                  <a:cubicBezTo>
                    <a:pt x="4241" y="11094"/>
                    <a:pt x="4382" y="11135"/>
                    <a:pt x="4494" y="11223"/>
                  </a:cubicBezTo>
                  <a:cubicBezTo>
                    <a:pt x="4568" y="11280"/>
                    <a:pt x="4619" y="11360"/>
                    <a:pt x="4657" y="11444"/>
                  </a:cubicBezTo>
                  <a:cubicBezTo>
                    <a:pt x="4624" y="11504"/>
                    <a:pt x="4552" y="11523"/>
                    <a:pt x="4491" y="11542"/>
                  </a:cubicBezTo>
                  <a:cubicBezTo>
                    <a:pt x="4287" y="11596"/>
                    <a:pt x="4073" y="11599"/>
                    <a:pt x="3865" y="11579"/>
                  </a:cubicBezTo>
                  <a:cubicBezTo>
                    <a:pt x="3705" y="11558"/>
                    <a:pt x="3532" y="11524"/>
                    <a:pt x="3415" y="11404"/>
                  </a:cubicBezTo>
                  <a:cubicBezTo>
                    <a:pt x="3328" y="11440"/>
                    <a:pt x="3233" y="11454"/>
                    <a:pt x="3139" y="11444"/>
                  </a:cubicBezTo>
                  <a:cubicBezTo>
                    <a:pt x="3030" y="11432"/>
                    <a:pt x="2924" y="11403"/>
                    <a:pt x="2817" y="11383"/>
                  </a:cubicBezTo>
                  <a:cubicBezTo>
                    <a:pt x="2864" y="11096"/>
                    <a:pt x="2871" y="10804"/>
                    <a:pt x="2847" y="10516"/>
                  </a:cubicBezTo>
                  <a:cubicBezTo>
                    <a:pt x="2814" y="10055"/>
                    <a:pt x="2710" y="9604"/>
                    <a:pt x="2657" y="9146"/>
                  </a:cubicBezTo>
                  <a:cubicBezTo>
                    <a:pt x="2577" y="9146"/>
                    <a:pt x="2497" y="9146"/>
                    <a:pt x="2417" y="9146"/>
                  </a:cubicBezTo>
                  <a:cubicBezTo>
                    <a:pt x="2476" y="9573"/>
                    <a:pt x="2588" y="9995"/>
                    <a:pt x="2586" y="10429"/>
                  </a:cubicBezTo>
                  <a:cubicBezTo>
                    <a:pt x="2586" y="10615"/>
                    <a:pt x="2564" y="10809"/>
                    <a:pt x="2468" y="10972"/>
                  </a:cubicBezTo>
                  <a:cubicBezTo>
                    <a:pt x="2453" y="11001"/>
                    <a:pt x="2427" y="11023"/>
                    <a:pt x="2417" y="11053"/>
                  </a:cubicBezTo>
                  <a:cubicBezTo>
                    <a:pt x="2420" y="11118"/>
                    <a:pt x="2462" y="11175"/>
                    <a:pt x="2458" y="11241"/>
                  </a:cubicBezTo>
                  <a:cubicBezTo>
                    <a:pt x="2452" y="11397"/>
                    <a:pt x="2395" y="11546"/>
                    <a:pt x="2398" y="11703"/>
                  </a:cubicBezTo>
                  <a:cubicBezTo>
                    <a:pt x="2323" y="11795"/>
                    <a:pt x="2204" y="11836"/>
                    <a:pt x="2090" y="11850"/>
                  </a:cubicBezTo>
                  <a:cubicBezTo>
                    <a:pt x="1942" y="11868"/>
                    <a:pt x="1784" y="11846"/>
                    <a:pt x="1658" y="11763"/>
                  </a:cubicBezTo>
                  <a:cubicBezTo>
                    <a:pt x="1646" y="11649"/>
                    <a:pt x="1610" y="11532"/>
                    <a:pt x="1644" y="11418"/>
                  </a:cubicBezTo>
                  <a:cubicBezTo>
                    <a:pt x="1669" y="11327"/>
                    <a:pt x="1756" y="11264"/>
                    <a:pt x="1759" y="11166"/>
                  </a:cubicBezTo>
                  <a:cubicBezTo>
                    <a:pt x="1761" y="11072"/>
                    <a:pt x="1724" y="10983"/>
                    <a:pt x="1704" y="10893"/>
                  </a:cubicBezTo>
                  <a:cubicBezTo>
                    <a:pt x="1671" y="10756"/>
                    <a:pt x="1682" y="10614"/>
                    <a:pt x="1642" y="10479"/>
                  </a:cubicBezTo>
                  <a:cubicBezTo>
                    <a:pt x="1595" y="10310"/>
                    <a:pt x="1509" y="10153"/>
                    <a:pt x="1477" y="9980"/>
                  </a:cubicBezTo>
                  <a:cubicBezTo>
                    <a:pt x="1423" y="9671"/>
                    <a:pt x="1485" y="9354"/>
                    <a:pt x="1417" y="9047"/>
                  </a:cubicBezTo>
                  <a:cubicBezTo>
                    <a:pt x="945" y="9046"/>
                    <a:pt x="472" y="9046"/>
                    <a:pt x="0" y="9046"/>
                  </a:cubicBezTo>
                  <a:lnTo>
                    <a:pt x="0" y="6330"/>
                  </a:lnTo>
                  <a:cubicBezTo>
                    <a:pt x="285" y="6330"/>
                    <a:pt x="571" y="6330"/>
                    <a:pt x="857" y="6331"/>
                  </a:cubicBezTo>
                  <a:cubicBezTo>
                    <a:pt x="922" y="6174"/>
                    <a:pt x="1040" y="6044"/>
                    <a:pt x="1086" y="5879"/>
                  </a:cubicBezTo>
                  <a:cubicBezTo>
                    <a:pt x="1114" y="5786"/>
                    <a:pt x="1105" y="5686"/>
                    <a:pt x="1080" y="5593"/>
                  </a:cubicBezTo>
                  <a:cubicBezTo>
                    <a:pt x="1091" y="5147"/>
                    <a:pt x="1100" y="4700"/>
                    <a:pt x="1099" y="4254"/>
                  </a:cubicBezTo>
                  <a:cubicBezTo>
                    <a:pt x="1099" y="3900"/>
                    <a:pt x="1095" y="3545"/>
                    <a:pt x="1072" y="3192"/>
                  </a:cubicBezTo>
                  <a:cubicBezTo>
                    <a:pt x="1042" y="2571"/>
                    <a:pt x="1064" y="1947"/>
                    <a:pt x="1147" y="1331"/>
                  </a:cubicBezTo>
                  <a:cubicBezTo>
                    <a:pt x="1169" y="1157"/>
                    <a:pt x="1185" y="981"/>
                    <a:pt x="1237" y="812"/>
                  </a:cubicBezTo>
                  <a:cubicBezTo>
                    <a:pt x="1270" y="704"/>
                    <a:pt x="1323" y="599"/>
                    <a:pt x="1409" y="523"/>
                  </a:cubicBezTo>
                  <a:cubicBezTo>
                    <a:pt x="1547" y="406"/>
                    <a:pt x="1720" y="343"/>
                    <a:pt x="1888" y="280"/>
                  </a:cubicBezTo>
                  <a:close/>
                  <a:moveTo>
                    <a:pt x="1081" y="6107"/>
                  </a:moveTo>
                  <a:cubicBezTo>
                    <a:pt x="1084" y="6163"/>
                    <a:pt x="1055" y="6211"/>
                    <a:pt x="1033" y="6261"/>
                  </a:cubicBezTo>
                  <a:cubicBezTo>
                    <a:pt x="1013" y="6301"/>
                    <a:pt x="1019" y="6346"/>
                    <a:pt x="1020" y="6390"/>
                  </a:cubicBezTo>
                  <a:cubicBezTo>
                    <a:pt x="1129" y="6374"/>
                    <a:pt x="1238" y="6398"/>
                    <a:pt x="1348" y="6387"/>
                  </a:cubicBezTo>
                  <a:cubicBezTo>
                    <a:pt x="1351" y="6319"/>
                    <a:pt x="1349" y="6252"/>
                    <a:pt x="1350" y="6184"/>
                  </a:cubicBezTo>
                  <a:cubicBezTo>
                    <a:pt x="1315" y="6182"/>
                    <a:pt x="1283" y="6168"/>
                    <a:pt x="1260" y="6141"/>
                  </a:cubicBezTo>
                  <a:cubicBezTo>
                    <a:pt x="1236" y="6156"/>
                    <a:pt x="1209" y="6184"/>
                    <a:pt x="1179" y="6167"/>
                  </a:cubicBezTo>
                  <a:cubicBezTo>
                    <a:pt x="1137" y="6156"/>
                    <a:pt x="1132" y="6088"/>
                    <a:pt x="1081" y="6107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Freeform 175">
              <a:extLst>
                <a:ext uri="{FF2B5EF4-FFF2-40B4-BE49-F238E27FC236}">
                  <a16:creationId xmlns:a16="http://schemas.microsoft.com/office/drawing/2014/main" id="{BCCC648E-486A-42FB-83BB-19DA1BA5F8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34" y="1797"/>
              <a:ext cx="953" cy="2331"/>
            </a:xfrm>
            <a:custGeom>
              <a:avLst/>
              <a:gdLst>
                <a:gd name="T0" fmla="*/ 1556 w 4891"/>
                <a:gd name="T1" fmla="*/ 0 h 11949"/>
                <a:gd name="T2" fmla="*/ 1571 w 4891"/>
                <a:gd name="T3" fmla="*/ 1231 h 11949"/>
                <a:gd name="T4" fmla="*/ 1471 w 4891"/>
                <a:gd name="T5" fmla="*/ 2282 h 11949"/>
                <a:gd name="T6" fmla="*/ 2590 w 4891"/>
                <a:gd name="T7" fmla="*/ 2612 h 11949"/>
                <a:gd name="T8" fmla="*/ 2505 w 4891"/>
                <a:gd name="T9" fmla="*/ 1143 h 11949"/>
                <a:gd name="T10" fmla="*/ 2483 w 4891"/>
                <a:gd name="T11" fmla="*/ 342 h 11949"/>
                <a:gd name="T12" fmla="*/ 2819 w 4891"/>
                <a:gd name="T13" fmla="*/ 273 h 11949"/>
                <a:gd name="T14" fmla="*/ 4407 w 4891"/>
                <a:gd name="T15" fmla="*/ 1610 h 11949"/>
                <a:gd name="T16" fmla="*/ 4867 w 4891"/>
                <a:gd name="T17" fmla="*/ 2375 h 11949"/>
                <a:gd name="T18" fmla="*/ 4438 w 4891"/>
                <a:gd name="T19" fmla="*/ 2881 h 11949"/>
                <a:gd name="T20" fmla="*/ 3776 w 4891"/>
                <a:gd name="T21" fmla="*/ 3469 h 11949"/>
                <a:gd name="T22" fmla="*/ 3488 w 4891"/>
                <a:gd name="T23" fmla="*/ 3310 h 11949"/>
                <a:gd name="T24" fmla="*/ 3818 w 4891"/>
                <a:gd name="T25" fmla="*/ 4042 h 11949"/>
                <a:gd name="T26" fmla="*/ 3840 w 4891"/>
                <a:gd name="T27" fmla="*/ 6657 h 11949"/>
                <a:gd name="T28" fmla="*/ 3483 w 4891"/>
                <a:gd name="T29" fmla="*/ 7191 h 11949"/>
                <a:gd name="T30" fmla="*/ 3785 w 4891"/>
                <a:gd name="T31" fmla="*/ 8356 h 11949"/>
                <a:gd name="T32" fmla="*/ 4071 w 4891"/>
                <a:gd name="T33" fmla="*/ 10096 h 11949"/>
                <a:gd name="T34" fmla="*/ 4498 w 4891"/>
                <a:gd name="T35" fmla="*/ 11846 h 11949"/>
                <a:gd name="T36" fmla="*/ 3863 w 4891"/>
                <a:gd name="T37" fmla="*/ 11780 h 11949"/>
                <a:gd name="T38" fmla="*/ 3868 w 4891"/>
                <a:gd name="T39" fmla="*/ 10980 h 11949"/>
                <a:gd name="T40" fmla="*/ 3324 w 4891"/>
                <a:gd name="T41" fmla="*/ 9505 h 11949"/>
                <a:gd name="T42" fmla="*/ 2997 w 4891"/>
                <a:gd name="T43" fmla="*/ 8819 h 11949"/>
                <a:gd name="T44" fmla="*/ 2429 w 4891"/>
                <a:gd name="T45" fmla="*/ 10166 h 11949"/>
                <a:gd name="T46" fmla="*/ 2272 w 4891"/>
                <a:gd name="T47" fmla="*/ 11579 h 11949"/>
                <a:gd name="T48" fmla="*/ 1854 w 4891"/>
                <a:gd name="T49" fmla="*/ 11672 h 11949"/>
                <a:gd name="T50" fmla="*/ 1659 w 4891"/>
                <a:gd name="T51" fmla="*/ 11473 h 11949"/>
                <a:gd name="T52" fmla="*/ 2401 w 4891"/>
                <a:gd name="T53" fmla="*/ 7292 h 11949"/>
                <a:gd name="T54" fmla="*/ 2026 w 4891"/>
                <a:gd name="T55" fmla="*/ 7353 h 11949"/>
                <a:gd name="T56" fmla="*/ 1076 w 4891"/>
                <a:gd name="T57" fmla="*/ 4635 h 11949"/>
                <a:gd name="T58" fmla="*/ 752 w 4891"/>
                <a:gd name="T59" fmla="*/ 4606 h 11949"/>
                <a:gd name="T60" fmla="*/ 645 w 4891"/>
                <a:gd name="T61" fmla="*/ 4432 h 11949"/>
                <a:gd name="T62" fmla="*/ 675 w 4891"/>
                <a:gd name="T63" fmla="*/ 5494 h 11949"/>
                <a:gd name="T64" fmla="*/ 419 w 4891"/>
                <a:gd name="T65" fmla="*/ 5892 h 11949"/>
                <a:gd name="T66" fmla="*/ 228 w 4891"/>
                <a:gd name="T67" fmla="*/ 5073 h 11949"/>
                <a:gd name="T68" fmla="*/ 38 w 4891"/>
                <a:gd name="T69" fmla="*/ 5005 h 11949"/>
                <a:gd name="T70" fmla="*/ 66 w 4891"/>
                <a:gd name="T71" fmla="*/ 3980 h 11949"/>
                <a:gd name="T72" fmla="*/ 349 w 4891"/>
                <a:gd name="T73" fmla="*/ 930 h 11949"/>
                <a:gd name="T74" fmla="*/ 604 w 4891"/>
                <a:gd name="T75" fmla="*/ 313 h 11949"/>
                <a:gd name="T76" fmla="*/ 3390 w 4891"/>
                <a:gd name="T77" fmla="*/ 1722 h 11949"/>
                <a:gd name="T78" fmla="*/ 3241 w 4891"/>
                <a:gd name="T79" fmla="*/ 1983 h 11949"/>
                <a:gd name="T80" fmla="*/ 3144 w 4891"/>
                <a:gd name="T81" fmla="*/ 2398 h 11949"/>
                <a:gd name="T82" fmla="*/ 3433 w 4891"/>
                <a:gd name="T83" fmla="*/ 2625 h 11949"/>
                <a:gd name="T84" fmla="*/ 3870 w 4891"/>
                <a:gd name="T85" fmla="*/ 2575 h 11949"/>
                <a:gd name="T86" fmla="*/ 4182 w 4891"/>
                <a:gd name="T87" fmla="*/ 2317 h 11949"/>
                <a:gd name="T88" fmla="*/ 4012 w 4891"/>
                <a:gd name="T89" fmla="*/ 1994 h 11949"/>
                <a:gd name="T90" fmla="*/ 3474 w 4891"/>
                <a:gd name="T91" fmla="*/ 1697 h 119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891" h="11949">
                  <a:moveTo>
                    <a:pt x="1225" y="177"/>
                  </a:moveTo>
                  <a:cubicBezTo>
                    <a:pt x="1345" y="138"/>
                    <a:pt x="1457" y="78"/>
                    <a:pt x="1556" y="0"/>
                  </a:cubicBezTo>
                  <a:cubicBezTo>
                    <a:pt x="1563" y="227"/>
                    <a:pt x="1581" y="454"/>
                    <a:pt x="1576" y="681"/>
                  </a:cubicBezTo>
                  <a:cubicBezTo>
                    <a:pt x="1574" y="864"/>
                    <a:pt x="1575" y="1048"/>
                    <a:pt x="1571" y="1231"/>
                  </a:cubicBezTo>
                  <a:cubicBezTo>
                    <a:pt x="1561" y="1398"/>
                    <a:pt x="1565" y="1567"/>
                    <a:pt x="1539" y="1733"/>
                  </a:cubicBezTo>
                  <a:cubicBezTo>
                    <a:pt x="1512" y="1915"/>
                    <a:pt x="1500" y="2100"/>
                    <a:pt x="1471" y="2282"/>
                  </a:cubicBezTo>
                  <a:cubicBezTo>
                    <a:pt x="1443" y="2497"/>
                    <a:pt x="1419" y="2712"/>
                    <a:pt x="1427" y="2929"/>
                  </a:cubicBezTo>
                  <a:cubicBezTo>
                    <a:pt x="1814" y="2823"/>
                    <a:pt x="2202" y="2717"/>
                    <a:pt x="2590" y="2612"/>
                  </a:cubicBezTo>
                  <a:cubicBezTo>
                    <a:pt x="2577" y="2314"/>
                    <a:pt x="2572" y="2016"/>
                    <a:pt x="2543" y="1718"/>
                  </a:cubicBezTo>
                  <a:cubicBezTo>
                    <a:pt x="2525" y="1527"/>
                    <a:pt x="2519" y="1335"/>
                    <a:pt x="2505" y="1143"/>
                  </a:cubicBezTo>
                  <a:cubicBezTo>
                    <a:pt x="2490" y="971"/>
                    <a:pt x="2501" y="797"/>
                    <a:pt x="2496" y="625"/>
                  </a:cubicBezTo>
                  <a:cubicBezTo>
                    <a:pt x="2492" y="530"/>
                    <a:pt x="2486" y="436"/>
                    <a:pt x="2483" y="342"/>
                  </a:cubicBezTo>
                  <a:cubicBezTo>
                    <a:pt x="2478" y="249"/>
                    <a:pt x="2490" y="154"/>
                    <a:pt x="2467" y="61"/>
                  </a:cubicBezTo>
                  <a:cubicBezTo>
                    <a:pt x="2558" y="168"/>
                    <a:pt x="2690" y="227"/>
                    <a:pt x="2819" y="273"/>
                  </a:cubicBezTo>
                  <a:cubicBezTo>
                    <a:pt x="3030" y="346"/>
                    <a:pt x="3250" y="400"/>
                    <a:pt x="3449" y="503"/>
                  </a:cubicBezTo>
                  <a:cubicBezTo>
                    <a:pt x="3768" y="872"/>
                    <a:pt x="4085" y="1243"/>
                    <a:pt x="4407" y="1610"/>
                  </a:cubicBezTo>
                  <a:cubicBezTo>
                    <a:pt x="4542" y="1753"/>
                    <a:pt x="4700" y="1880"/>
                    <a:pt x="4801" y="2052"/>
                  </a:cubicBezTo>
                  <a:cubicBezTo>
                    <a:pt x="4858" y="2148"/>
                    <a:pt x="4891" y="2264"/>
                    <a:pt x="4867" y="2375"/>
                  </a:cubicBezTo>
                  <a:cubicBezTo>
                    <a:pt x="4843" y="2461"/>
                    <a:pt x="4787" y="2532"/>
                    <a:pt x="4730" y="2598"/>
                  </a:cubicBezTo>
                  <a:cubicBezTo>
                    <a:pt x="4639" y="2699"/>
                    <a:pt x="4536" y="2787"/>
                    <a:pt x="4438" y="2881"/>
                  </a:cubicBezTo>
                  <a:cubicBezTo>
                    <a:pt x="4266" y="3055"/>
                    <a:pt x="4122" y="3260"/>
                    <a:pt x="3919" y="3401"/>
                  </a:cubicBezTo>
                  <a:cubicBezTo>
                    <a:pt x="3875" y="3430"/>
                    <a:pt x="3830" y="3466"/>
                    <a:pt x="3776" y="3469"/>
                  </a:cubicBezTo>
                  <a:cubicBezTo>
                    <a:pt x="3721" y="3477"/>
                    <a:pt x="3663" y="3470"/>
                    <a:pt x="3617" y="3438"/>
                  </a:cubicBezTo>
                  <a:cubicBezTo>
                    <a:pt x="3566" y="3404"/>
                    <a:pt x="3533" y="3350"/>
                    <a:pt x="3488" y="3310"/>
                  </a:cubicBezTo>
                  <a:cubicBezTo>
                    <a:pt x="3526" y="3547"/>
                    <a:pt x="3698" y="3726"/>
                    <a:pt x="3789" y="3941"/>
                  </a:cubicBezTo>
                  <a:cubicBezTo>
                    <a:pt x="3804" y="3973"/>
                    <a:pt x="3815" y="4007"/>
                    <a:pt x="3818" y="4042"/>
                  </a:cubicBezTo>
                  <a:cubicBezTo>
                    <a:pt x="3911" y="4886"/>
                    <a:pt x="4082" y="5719"/>
                    <a:pt x="4162" y="6564"/>
                  </a:cubicBezTo>
                  <a:cubicBezTo>
                    <a:pt x="4050" y="6574"/>
                    <a:pt x="3940" y="6604"/>
                    <a:pt x="3840" y="6657"/>
                  </a:cubicBezTo>
                  <a:cubicBezTo>
                    <a:pt x="3690" y="6735"/>
                    <a:pt x="3547" y="6838"/>
                    <a:pt x="3376" y="6865"/>
                  </a:cubicBezTo>
                  <a:cubicBezTo>
                    <a:pt x="3437" y="6963"/>
                    <a:pt x="3470" y="7077"/>
                    <a:pt x="3483" y="7191"/>
                  </a:cubicBezTo>
                  <a:cubicBezTo>
                    <a:pt x="3502" y="7345"/>
                    <a:pt x="3497" y="7503"/>
                    <a:pt x="3525" y="7656"/>
                  </a:cubicBezTo>
                  <a:cubicBezTo>
                    <a:pt x="3574" y="7903"/>
                    <a:pt x="3719" y="8115"/>
                    <a:pt x="3785" y="8356"/>
                  </a:cubicBezTo>
                  <a:cubicBezTo>
                    <a:pt x="3902" y="8788"/>
                    <a:pt x="3890" y="9239"/>
                    <a:pt x="3959" y="9679"/>
                  </a:cubicBezTo>
                  <a:cubicBezTo>
                    <a:pt x="3984" y="9821"/>
                    <a:pt x="4008" y="9966"/>
                    <a:pt x="4071" y="10096"/>
                  </a:cubicBezTo>
                  <a:cubicBezTo>
                    <a:pt x="4172" y="10310"/>
                    <a:pt x="4332" y="10496"/>
                    <a:pt x="4388" y="10729"/>
                  </a:cubicBezTo>
                  <a:cubicBezTo>
                    <a:pt x="4481" y="11094"/>
                    <a:pt x="4482" y="11472"/>
                    <a:pt x="4498" y="11846"/>
                  </a:cubicBezTo>
                  <a:cubicBezTo>
                    <a:pt x="4423" y="11920"/>
                    <a:pt x="4315" y="11949"/>
                    <a:pt x="4212" y="11946"/>
                  </a:cubicBezTo>
                  <a:cubicBezTo>
                    <a:pt x="4080" y="11943"/>
                    <a:pt x="3941" y="11891"/>
                    <a:pt x="3863" y="11780"/>
                  </a:cubicBezTo>
                  <a:cubicBezTo>
                    <a:pt x="3807" y="11701"/>
                    <a:pt x="3805" y="11599"/>
                    <a:pt x="3811" y="11505"/>
                  </a:cubicBezTo>
                  <a:cubicBezTo>
                    <a:pt x="3824" y="11329"/>
                    <a:pt x="3858" y="11156"/>
                    <a:pt x="3868" y="10980"/>
                  </a:cubicBezTo>
                  <a:cubicBezTo>
                    <a:pt x="3885" y="10750"/>
                    <a:pt x="3819" y="10523"/>
                    <a:pt x="3732" y="10312"/>
                  </a:cubicBezTo>
                  <a:cubicBezTo>
                    <a:pt x="3616" y="10034"/>
                    <a:pt x="3450" y="9779"/>
                    <a:pt x="3324" y="9505"/>
                  </a:cubicBezTo>
                  <a:cubicBezTo>
                    <a:pt x="3221" y="9289"/>
                    <a:pt x="3169" y="9048"/>
                    <a:pt x="3030" y="8850"/>
                  </a:cubicBezTo>
                  <a:cubicBezTo>
                    <a:pt x="3019" y="8839"/>
                    <a:pt x="3013" y="8821"/>
                    <a:pt x="2997" y="8819"/>
                  </a:cubicBezTo>
                  <a:cubicBezTo>
                    <a:pt x="2892" y="9033"/>
                    <a:pt x="2759" y="9233"/>
                    <a:pt x="2653" y="9447"/>
                  </a:cubicBezTo>
                  <a:cubicBezTo>
                    <a:pt x="2539" y="9672"/>
                    <a:pt x="2451" y="9913"/>
                    <a:pt x="2429" y="10166"/>
                  </a:cubicBezTo>
                  <a:cubicBezTo>
                    <a:pt x="2393" y="10503"/>
                    <a:pt x="2432" y="10844"/>
                    <a:pt x="2385" y="11180"/>
                  </a:cubicBezTo>
                  <a:cubicBezTo>
                    <a:pt x="2368" y="11317"/>
                    <a:pt x="2332" y="11454"/>
                    <a:pt x="2272" y="11579"/>
                  </a:cubicBezTo>
                  <a:cubicBezTo>
                    <a:pt x="2262" y="11600"/>
                    <a:pt x="2252" y="11624"/>
                    <a:pt x="2230" y="11634"/>
                  </a:cubicBezTo>
                  <a:cubicBezTo>
                    <a:pt x="2117" y="11698"/>
                    <a:pt x="1978" y="11704"/>
                    <a:pt x="1854" y="11672"/>
                  </a:cubicBezTo>
                  <a:cubicBezTo>
                    <a:pt x="1775" y="11648"/>
                    <a:pt x="1695" y="11602"/>
                    <a:pt x="1658" y="11524"/>
                  </a:cubicBezTo>
                  <a:cubicBezTo>
                    <a:pt x="1647" y="11508"/>
                    <a:pt x="1656" y="11489"/>
                    <a:pt x="1659" y="11473"/>
                  </a:cubicBezTo>
                  <a:cubicBezTo>
                    <a:pt x="1798" y="10919"/>
                    <a:pt x="1967" y="10373"/>
                    <a:pt x="2105" y="9819"/>
                  </a:cubicBezTo>
                  <a:cubicBezTo>
                    <a:pt x="2315" y="8995"/>
                    <a:pt x="2444" y="8144"/>
                    <a:pt x="2401" y="7292"/>
                  </a:cubicBezTo>
                  <a:cubicBezTo>
                    <a:pt x="2402" y="7259"/>
                    <a:pt x="2360" y="7260"/>
                    <a:pt x="2338" y="7262"/>
                  </a:cubicBezTo>
                  <a:cubicBezTo>
                    <a:pt x="2230" y="7278"/>
                    <a:pt x="2134" y="7338"/>
                    <a:pt x="2026" y="7353"/>
                  </a:cubicBezTo>
                  <a:cubicBezTo>
                    <a:pt x="1692" y="6464"/>
                    <a:pt x="1381" y="5565"/>
                    <a:pt x="1125" y="4650"/>
                  </a:cubicBezTo>
                  <a:cubicBezTo>
                    <a:pt x="1110" y="4642"/>
                    <a:pt x="1094" y="4633"/>
                    <a:pt x="1076" y="4635"/>
                  </a:cubicBezTo>
                  <a:cubicBezTo>
                    <a:pt x="988" y="4638"/>
                    <a:pt x="901" y="4675"/>
                    <a:pt x="812" y="4657"/>
                  </a:cubicBezTo>
                  <a:cubicBezTo>
                    <a:pt x="787" y="4650"/>
                    <a:pt x="752" y="4637"/>
                    <a:pt x="752" y="4606"/>
                  </a:cubicBezTo>
                  <a:cubicBezTo>
                    <a:pt x="728" y="4225"/>
                    <a:pt x="782" y="3845"/>
                    <a:pt x="788" y="3464"/>
                  </a:cubicBezTo>
                  <a:cubicBezTo>
                    <a:pt x="708" y="3781"/>
                    <a:pt x="660" y="4105"/>
                    <a:pt x="645" y="4432"/>
                  </a:cubicBezTo>
                  <a:cubicBezTo>
                    <a:pt x="631" y="4785"/>
                    <a:pt x="651" y="5149"/>
                    <a:pt x="787" y="5480"/>
                  </a:cubicBezTo>
                  <a:cubicBezTo>
                    <a:pt x="764" y="5514"/>
                    <a:pt x="704" y="5529"/>
                    <a:pt x="675" y="5494"/>
                  </a:cubicBezTo>
                  <a:cubicBezTo>
                    <a:pt x="624" y="5440"/>
                    <a:pt x="606" y="5349"/>
                    <a:pt x="526" y="5330"/>
                  </a:cubicBezTo>
                  <a:cubicBezTo>
                    <a:pt x="453" y="5509"/>
                    <a:pt x="510" y="5717"/>
                    <a:pt x="419" y="5892"/>
                  </a:cubicBezTo>
                  <a:cubicBezTo>
                    <a:pt x="325" y="5884"/>
                    <a:pt x="260" y="5800"/>
                    <a:pt x="243" y="5713"/>
                  </a:cubicBezTo>
                  <a:cubicBezTo>
                    <a:pt x="197" y="5502"/>
                    <a:pt x="249" y="5286"/>
                    <a:pt x="228" y="5073"/>
                  </a:cubicBezTo>
                  <a:cubicBezTo>
                    <a:pt x="226" y="5054"/>
                    <a:pt x="208" y="5044"/>
                    <a:pt x="193" y="5037"/>
                  </a:cubicBezTo>
                  <a:cubicBezTo>
                    <a:pt x="143" y="5017"/>
                    <a:pt x="87" y="5025"/>
                    <a:pt x="38" y="5005"/>
                  </a:cubicBezTo>
                  <a:cubicBezTo>
                    <a:pt x="14" y="4995"/>
                    <a:pt x="0" y="4969"/>
                    <a:pt x="4" y="4943"/>
                  </a:cubicBezTo>
                  <a:cubicBezTo>
                    <a:pt x="19" y="4622"/>
                    <a:pt x="42" y="4301"/>
                    <a:pt x="66" y="3980"/>
                  </a:cubicBezTo>
                  <a:cubicBezTo>
                    <a:pt x="129" y="3213"/>
                    <a:pt x="169" y="2445"/>
                    <a:pt x="248" y="1680"/>
                  </a:cubicBezTo>
                  <a:cubicBezTo>
                    <a:pt x="275" y="1429"/>
                    <a:pt x="305" y="1178"/>
                    <a:pt x="349" y="930"/>
                  </a:cubicBezTo>
                  <a:cubicBezTo>
                    <a:pt x="381" y="767"/>
                    <a:pt x="412" y="601"/>
                    <a:pt x="480" y="448"/>
                  </a:cubicBezTo>
                  <a:cubicBezTo>
                    <a:pt x="506" y="393"/>
                    <a:pt x="539" y="327"/>
                    <a:pt x="604" y="313"/>
                  </a:cubicBezTo>
                  <a:cubicBezTo>
                    <a:pt x="810" y="263"/>
                    <a:pt x="1023" y="242"/>
                    <a:pt x="1225" y="177"/>
                  </a:cubicBezTo>
                  <a:close/>
                  <a:moveTo>
                    <a:pt x="3390" y="1722"/>
                  </a:moveTo>
                  <a:cubicBezTo>
                    <a:pt x="3363" y="1755"/>
                    <a:pt x="3350" y="1797"/>
                    <a:pt x="3331" y="1835"/>
                  </a:cubicBezTo>
                  <a:cubicBezTo>
                    <a:pt x="3306" y="1888"/>
                    <a:pt x="3267" y="1932"/>
                    <a:pt x="3241" y="1983"/>
                  </a:cubicBezTo>
                  <a:cubicBezTo>
                    <a:pt x="3213" y="2047"/>
                    <a:pt x="3194" y="2115"/>
                    <a:pt x="3156" y="2175"/>
                  </a:cubicBezTo>
                  <a:cubicBezTo>
                    <a:pt x="3112" y="2239"/>
                    <a:pt x="3104" y="2330"/>
                    <a:pt x="3144" y="2398"/>
                  </a:cubicBezTo>
                  <a:cubicBezTo>
                    <a:pt x="3153" y="2417"/>
                    <a:pt x="3161" y="2437"/>
                    <a:pt x="3173" y="2455"/>
                  </a:cubicBezTo>
                  <a:cubicBezTo>
                    <a:pt x="3250" y="2525"/>
                    <a:pt x="3342" y="2575"/>
                    <a:pt x="3433" y="2625"/>
                  </a:cubicBezTo>
                  <a:cubicBezTo>
                    <a:pt x="3497" y="2674"/>
                    <a:pt x="3567" y="2714"/>
                    <a:pt x="3627" y="2768"/>
                  </a:cubicBezTo>
                  <a:cubicBezTo>
                    <a:pt x="3713" y="2710"/>
                    <a:pt x="3787" y="2636"/>
                    <a:pt x="3870" y="2575"/>
                  </a:cubicBezTo>
                  <a:cubicBezTo>
                    <a:pt x="3925" y="2534"/>
                    <a:pt x="3971" y="2482"/>
                    <a:pt x="4032" y="2448"/>
                  </a:cubicBezTo>
                  <a:cubicBezTo>
                    <a:pt x="4087" y="2412"/>
                    <a:pt x="4157" y="2384"/>
                    <a:pt x="4182" y="2317"/>
                  </a:cubicBezTo>
                  <a:cubicBezTo>
                    <a:pt x="4197" y="2256"/>
                    <a:pt x="4171" y="2196"/>
                    <a:pt x="4154" y="2139"/>
                  </a:cubicBezTo>
                  <a:cubicBezTo>
                    <a:pt x="4107" y="2090"/>
                    <a:pt x="4059" y="2042"/>
                    <a:pt x="4012" y="1994"/>
                  </a:cubicBezTo>
                  <a:cubicBezTo>
                    <a:pt x="3931" y="1940"/>
                    <a:pt x="3842" y="1897"/>
                    <a:pt x="3759" y="1846"/>
                  </a:cubicBezTo>
                  <a:cubicBezTo>
                    <a:pt x="3666" y="1793"/>
                    <a:pt x="3576" y="1732"/>
                    <a:pt x="3474" y="1697"/>
                  </a:cubicBezTo>
                  <a:cubicBezTo>
                    <a:pt x="3445" y="1696"/>
                    <a:pt x="3409" y="1696"/>
                    <a:pt x="3390" y="1722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Freeform 176">
              <a:extLst>
                <a:ext uri="{FF2B5EF4-FFF2-40B4-BE49-F238E27FC236}">
                  <a16:creationId xmlns:a16="http://schemas.microsoft.com/office/drawing/2014/main" id="{CBDD2204-3259-4799-83A7-97DE20E2A0A8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5" y="2735"/>
              <a:ext cx="132" cy="203"/>
            </a:xfrm>
            <a:custGeom>
              <a:avLst/>
              <a:gdLst>
                <a:gd name="T0" fmla="*/ 130 w 678"/>
                <a:gd name="T1" fmla="*/ 105 h 1036"/>
                <a:gd name="T2" fmla="*/ 470 w 678"/>
                <a:gd name="T3" fmla="*/ 8 h 1036"/>
                <a:gd name="T4" fmla="*/ 678 w 678"/>
                <a:gd name="T5" fmla="*/ 91 h 1036"/>
                <a:gd name="T6" fmla="*/ 549 w 678"/>
                <a:gd name="T7" fmla="*/ 587 h 1036"/>
                <a:gd name="T8" fmla="*/ 447 w 678"/>
                <a:gd name="T9" fmla="*/ 678 h 1036"/>
                <a:gd name="T10" fmla="*/ 410 w 678"/>
                <a:gd name="T11" fmla="*/ 520 h 1036"/>
                <a:gd name="T12" fmla="*/ 489 w 678"/>
                <a:gd name="T13" fmla="*/ 463 h 1036"/>
                <a:gd name="T14" fmla="*/ 442 w 678"/>
                <a:gd name="T15" fmla="*/ 301 h 1036"/>
                <a:gd name="T16" fmla="*/ 320 w 678"/>
                <a:gd name="T17" fmla="*/ 482 h 1036"/>
                <a:gd name="T18" fmla="*/ 540 w 678"/>
                <a:gd name="T19" fmla="*/ 1009 h 1036"/>
                <a:gd name="T20" fmla="*/ 296 w 678"/>
                <a:gd name="T21" fmla="*/ 958 h 1036"/>
                <a:gd name="T22" fmla="*/ 102 w 678"/>
                <a:gd name="T23" fmla="*/ 789 h 1036"/>
                <a:gd name="T24" fmla="*/ 45 w 678"/>
                <a:gd name="T25" fmla="*/ 620 h 1036"/>
                <a:gd name="T26" fmla="*/ 0 w 678"/>
                <a:gd name="T27" fmla="*/ 394 h 1036"/>
                <a:gd name="T28" fmla="*/ 130 w 678"/>
                <a:gd name="T29" fmla="*/ 105 h 10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78" h="1036">
                  <a:moveTo>
                    <a:pt x="130" y="105"/>
                  </a:moveTo>
                  <a:cubicBezTo>
                    <a:pt x="219" y="18"/>
                    <a:pt x="351" y="0"/>
                    <a:pt x="470" y="8"/>
                  </a:cubicBezTo>
                  <a:cubicBezTo>
                    <a:pt x="546" y="11"/>
                    <a:pt x="624" y="35"/>
                    <a:pt x="678" y="91"/>
                  </a:cubicBezTo>
                  <a:cubicBezTo>
                    <a:pt x="583" y="240"/>
                    <a:pt x="626" y="431"/>
                    <a:pt x="549" y="587"/>
                  </a:cubicBezTo>
                  <a:cubicBezTo>
                    <a:pt x="528" y="629"/>
                    <a:pt x="490" y="660"/>
                    <a:pt x="447" y="678"/>
                  </a:cubicBezTo>
                  <a:cubicBezTo>
                    <a:pt x="437" y="625"/>
                    <a:pt x="403" y="576"/>
                    <a:pt x="410" y="520"/>
                  </a:cubicBezTo>
                  <a:cubicBezTo>
                    <a:pt x="416" y="483"/>
                    <a:pt x="459" y="474"/>
                    <a:pt x="489" y="463"/>
                  </a:cubicBezTo>
                  <a:cubicBezTo>
                    <a:pt x="429" y="433"/>
                    <a:pt x="444" y="356"/>
                    <a:pt x="442" y="301"/>
                  </a:cubicBezTo>
                  <a:cubicBezTo>
                    <a:pt x="372" y="333"/>
                    <a:pt x="313" y="401"/>
                    <a:pt x="320" y="482"/>
                  </a:cubicBezTo>
                  <a:cubicBezTo>
                    <a:pt x="338" y="677"/>
                    <a:pt x="488" y="824"/>
                    <a:pt x="540" y="1009"/>
                  </a:cubicBezTo>
                  <a:cubicBezTo>
                    <a:pt x="455" y="1036"/>
                    <a:pt x="368" y="1001"/>
                    <a:pt x="296" y="958"/>
                  </a:cubicBezTo>
                  <a:cubicBezTo>
                    <a:pt x="222" y="913"/>
                    <a:pt x="154" y="858"/>
                    <a:pt x="102" y="789"/>
                  </a:cubicBezTo>
                  <a:cubicBezTo>
                    <a:pt x="64" y="740"/>
                    <a:pt x="63" y="676"/>
                    <a:pt x="45" y="620"/>
                  </a:cubicBezTo>
                  <a:cubicBezTo>
                    <a:pt x="29" y="545"/>
                    <a:pt x="1" y="471"/>
                    <a:pt x="0" y="394"/>
                  </a:cubicBezTo>
                  <a:cubicBezTo>
                    <a:pt x="5" y="281"/>
                    <a:pt x="136" y="220"/>
                    <a:pt x="130" y="105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Freeform 177">
              <a:extLst>
                <a:ext uri="{FF2B5EF4-FFF2-40B4-BE49-F238E27FC236}">
                  <a16:creationId xmlns:a16="http://schemas.microsoft.com/office/drawing/2014/main" id="{3072785F-B6F7-40A3-8170-82DA61E3C577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9" y="2837"/>
              <a:ext cx="138" cy="176"/>
            </a:xfrm>
            <a:custGeom>
              <a:avLst/>
              <a:gdLst>
                <a:gd name="T0" fmla="*/ 276 w 710"/>
                <a:gd name="T1" fmla="*/ 0 h 902"/>
                <a:gd name="T2" fmla="*/ 604 w 710"/>
                <a:gd name="T3" fmla="*/ 36 h 902"/>
                <a:gd name="T4" fmla="*/ 701 w 710"/>
                <a:gd name="T5" fmla="*/ 300 h 902"/>
                <a:gd name="T6" fmla="*/ 572 w 710"/>
                <a:gd name="T7" fmla="*/ 710 h 902"/>
                <a:gd name="T8" fmla="*/ 187 w 710"/>
                <a:gd name="T9" fmla="*/ 896 h 902"/>
                <a:gd name="T10" fmla="*/ 22 w 710"/>
                <a:gd name="T11" fmla="*/ 863 h 902"/>
                <a:gd name="T12" fmla="*/ 41 w 710"/>
                <a:gd name="T13" fmla="*/ 717 h 902"/>
                <a:gd name="T14" fmla="*/ 255 w 710"/>
                <a:gd name="T15" fmla="*/ 592 h 902"/>
                <a:gd name="T16" fmla="*/ 327 w 710"/>
                <a:gd name="T17" fmla="*/ 426 h 902"/>
                <a:gd name="T18" fmla="*/ 205 w 710"/>
                <a:gd name="T19" fmla="*/ 132 h 902"/>
                <a:gd name="T20" fmla="*/ 192 w 710"/>
                <a:gd name="T21" fmla="*/ 94 h 902"/>
                <a:gd name="T22" fmla="*/ 276 w 710"/>
                <a:gd name="T23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10" h="902">
                  <a:moveTo>
                    <a:pt x="276" y="0"/>
                  </a:moveTo>
                  <a:cubicBezTo>
                    <a:pt x="385" y="15"/>
                    <a:pt x="497" y="8"/>
                    <a:pt x="604" y="36"/>
                  </a:cubicBezTo>
                  <a:cubicBezTo>
                    <a:pt x="632" y="126"/>
                    <a:pt x="693" y="205"/>
                    <a:pt x="701" y="300"/>
                  </a:cubicBezTo>
                  <a:cubicBezTo>
                    <a:pt x="710" y="446"/>
                    <a:pt x="667" y="597"/>
                    <a:pt x="572" y="710"/>
                  </a:cubicBezTo>
                  <a:cubicBezTo>
                    <a:pt x="479" y="825"/>
                    <a:pt x="331" y="881"/>
                    <a:pt x="187" y="896"/>
                  </a:cubicBezTo>
                  <a:cubicBezTo>
                    <a:pt x="131" y="899"/>
                    <a:pt x="67" y="902"/>
                    <a:pt x="22" y="863"/>
                  </a:cubicBezTo>
                  <a:cubicBezTo>
                    <a:pt x="0" y="816"/>
                    <a:pt x="0" y="752"/>
                    <a:pt x="41" y="717"/>
                  </a:cubicBezTo>
                  <a:cubicBezTo>
                    <a:pt x="103" y="660"/>
                    <a:pt x="191" y="646"/>
                    <a:pt x="255" y="592"/>
                  </a:cubicBezTo>
                  <a:cubicBezTo>
                    <a:pt x="305" y="552"/>
                    <a:pt x="321" y="486"/>
                    <a:pt x="327" y="426"/>
                  </a:cubicBezTo>
                  <a:cubicBezTo>
                    <a:pt x="329" y="314"/>
                    <a:pt x="256" y="224"/>
                    <a:pt x="205" y="132"/>
                  </a:cubicBezTo>
                  <a:cubicBezTo>
                    <a:pt x="200" y="119"/>
                    <a:pt x="186" y="108"/>
                    <a:pt x="192" y="94"/>
                  </a:cubicBezTo>
                  <a:cubicBezTo>
                    <a:pt x="213" y="57"/>
                    <a:pt x="244" y="27"/>
                    <a:pt x="276" y="0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36722207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5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-0.25 0 E" pathEditMode="relative" ptsTypes="">
                                      <p:cBhvr>
                                        <p:cTn id="6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790A2B-6095-4F44-8EA0-3CC1EA22E5A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33670" y="1122361"/>
            <a:ext cx="5062330" cy="547411"/>
          </a:xfrm>
        </p:spPr>
        <p:txBody>
          <a:bodyPr/>
          <a:lstStyle/>
          <a:p>
            <a:r>
              <a:rPr lang="en-US" sz="4000"/>
              <a:t>Bài 2: Decompositio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07F680F-F140-40F4-BE08-2A125B8CE82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85462" y="1855303"/>
            <a:ext cx="9329530" cy="2160105"/>
          </a:xfrm>
          <a:ln>
            <a:noFill/>
          </a:ln>
        </p:spPr>
        <p:txBody>
          <a:bodyPr/>
          <a:lstStyle/>
          <a:p>
            <a:pPr algn="just"/>
            <a:r>
              <a:rPr lang="en-US" sz="2000">
                <a:solidFill>
                  <a:schemeClr val="tx1"/>
                </a:solidFill>
              </a:rPr>
              <a:t>Tính chi phí khi chỉ đi 1 ngày</a:t>
            </a:r>
          </a:p>
          <a:p>
            <a:pPr algn="just"/>
            <a:r>
              <a:rPr lang="en-US" sz="2000">
                <a:solidFill>
                  <a:schemeClr val="tx1"/>
                </a:solidFill>
              </a:rPr>
              <a:t>Tính chi phí khi chỉ đi 2 ngày</a:t>
            </a:r>
          </a:p>
          <a:p>
            <a:pPr algn="just"/>
            <a:r>
              <a:rPr lang="en-US" sz="2000">
                <a:solidFill>
                  <a:schemeClr val="tx1"/>
                </a:solidFill>
              </a:rPr>
              <a:t>Tính chi phí khi chỉ đi 3 ngày</a:t>
            </a:r>
          </a:p>
          <a:p>
            <a:pPr algn="just"/>
            <a:r>
              <a:rPr lang="en-US" sz="2000">
                <a:solidFill>
                  <a:schemeClr val="tx1"/>
                </a:solidFill>
              </a:rPr>
              <a:t>…</a:t>
            </a:r>
          </a:p>
          <a:p>
            <a:pPr algn="just"/>
            <a:r>
              <a:rPr lang="en-US" sz="2000">
                <a:solidFill>
                  <a:schemeClr val="tx1"/>
                </a:solidFill>
              </a:rPr>
              <a:t>Tính chi phí khi chỉ đi n ngày</a:t>
            </a:r>
          </a:p>
          <a:p>
            <a:pPr algn="just"/>
            <a:endParaRPr lang="en-US" sz="2000">
              <a:solidFill>
                <a:schemeClr val="tx1"/>
              </a:solidFill>
            </a:endParaRPr>
          </a:p>
          <a:p>
            <a:pPr algn="just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BE3DCB1D-7405-485A-98A0-4D4705B2AF27}"/>
              </a:ext>
            </a:extLst>
          </p:cNvPr>
          <p:cNvSpPr/>
          <p:nvPr/>
        </p:nvSpPr>
        <p:spPr>
          <a:xfrm rot="5400000">
            <a:off x="-345132" y="1024277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09989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5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25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25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50"/>
                            </p:stCondLst>
                            <p:childTnLst>
                              <p:par>
                                <p:cTn id="17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5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25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25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0"/>
                            </p:stCondLst>
                            <p:childTnLst>
                              <p:par>
                                <p:cTn id="23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5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25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25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750"/>
                            </p:stCondLst>
                            <p:childTnLst>
                              <p:par>
                                <p:cTn id="29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5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25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25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1000"/>
                            </p:stCondLst>
                            <p:childTnLst>
                              <p:par>
                                <p:cTn id="3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25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25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25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uiExpand="1" build="p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790A2B-6095-4F44-8EA0-3CC1EA22E5A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33670" y="1122361"/>
            <a:ext cx="4147929" cy="547411"/>
          </a:xfrm>
        </p:spPr>
        <p:txBody>
          <a:bodyPr/>
          <a:lstStyle/>
          <a:p>
            <a:r>
              <a:rPr lang="en-US" sz="4000"/>
              <a:t>Bài 2: Abstractio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07F680F-F140-40F4-BE08-2A125B8CE82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31235" y="1669773"/>
            <a:ext cx="9329530" cy="4386470"/>
          </a:xfrm>
          <a:ln>
            <a:noFill/>
          </a:ln>
        </p:spPr>
        <p:txBody>
          <a:bodyPr/>
          <a:lstStyle/>
          <a:p>
            <a:pPr marL="0" marR="0" algn="just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Q là 1 sinh viên ĐH. Có ngày Q ph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ả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 đ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ế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 trư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ờ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g, có ngày không. Nh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ữ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g ngày Q đ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ế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 trư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ờ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g đ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ề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u ph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ả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 đi b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ằ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g xe bus. Xe bus có 3 lo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ạ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 vé như sau:</a:t>
            </a:r>
          </a:p>
          <a:p>
            <a:pPr marL="0" marR="0" algn="just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	Vé xe đi 1 ngày t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ố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 2k</a:t>
            </a:r>
            <a:endParaRPr lang="en-US" sz="2400">
              <a:solidFill>
                <a:schemeClr val="tx1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algn="just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	Vé xe đi 7 ngày t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ố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 </a:t>
            </a:r>
            <a:r>
              <a:rPr lang="en-US">
                <a:solidFill>
                  <a:schemeClr val="tx1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7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</a:t>
            </a:r>
            <a:endParaRPr lang="en-US" sz="2400">
              <a:solidFill>
                <a:schemeClr val="tx1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algn="just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é xe đi 30 ngày t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ố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 </a:t>
            </a:r>
            <a:r>
              <a:rPr lang="en-US">
                <a:solidFill>
                  <a:schemeClr val="tx1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25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</a:t>
            </a:r>
            <a:endParaRPr lang="en-US" sz="2400">
              <a:solidFill>
                <a:schemeClr val="tx1"/>
              </a:solidFill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Vì mu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ố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 ti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ế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t ki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ệ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m ti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ề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 đ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ể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đi chơi vs crush, Q đã t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ự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l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ậ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p 1 m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ả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g days g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ồ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m n ngày đư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ợ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c s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ắ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p x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ế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p theo th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ứ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t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ự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, trong đó m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ỗ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i ngày days[i] là ngày Q ph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ả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i đ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ế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 trư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ờ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g. Hãy giúp b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ạ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 Q tính đư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ợ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c s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ố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ti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ề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 ít nh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ấ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t c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ầ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 cho vi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ệ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c đi xe bus đ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ể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Q ti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ế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t ki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ệ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m ti</a:t>
            </a:r>
            <a:r>
              <a:rPr lang="vi-VN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ề</a:t>
            </a: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 đi chơi với crush nhé!</a:t>
            </a:r>
            <a:endParaRPr lang="en-US" sz="2400">
              <a:solidFill>
                <a:schemeClr val="tx1"/>
              </a:solidFill>
            </a:endParaRPr>
          </a:p>
          <a:p>
            <a:pPr algn="just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BE3DCB1D-7405-485A-98A0-4D4705B2AF27}"/>
              </a:ext>
            </a:extLst>
          </p:cNvPr>
          <p:cNvSpPr/>
          <p:nvPr/>
        </p:nvSpPr>
        <p:spPr>
          <a:xfrm rot="5400000">
            <a:off x="-345132" y="1024277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CC6D165-2676-43C4-98F4-92BB7A13F7E9}"/>
              </a:ext>
            </a:extLst>
          </p:cNvPr>
          <p:cNvCxnSpPr/>
          <p:nvPr/>
        </p:nvCxnSpPr>
        <p:spPr>
          <a:xfrm>
            <a:off x="8150087" y="2478157"/>
            <a:ext cx="715617" cy="0"/>
          </a:xfrm>
          <a:prstGeom prst="line">
            <a:avLst/>
          </a:prstGeom>
          <a:effectLst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F865027-930B-4E8A-B269-1834AF6017F3}"/>
              </a:ext>
            </a:extLst>
          </p:cNvPr>
          <p:cNvCxnSpPr>
            <a:cxnSpLocks/>
          </p:cNvCxnSpPr>
          <p:nvPr/>
        </p:nvCxnSpPr>
        <p:spPr>
          <a:xfrm>
            <a:off x="3379304" y="4128053"/>
            <a:ext cx="1020418" cy="0"/>
          </a:xfrm>
          <a:prstGeom prst="line">
            <a:avLst/>
          </a:prstGeom>
          <a:effectLst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4D37F27-16A4-46D2-A831-E09299659FF7}"/>
              </a:ext>
            </a:extLst>
          </p:cNvPr>
          <p:cNvCxnSpPr>
            <a:cxnSpLocks/>
          </p:cNvCxnSpPr>
          <p:nvPr/>
        </p:nvCxnSpPr>
        <p:spPr>
          <a:xfrm>
            <a:off x="3379304" y="3048001"/>
            <a:ext cx="887896" cy="0"/>
          </a:xfrm>
          <a:prstGeom prst="line">
            <a:avLst/>
          </a:prstGeom>
          <a:effectLst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AE816E5-8241-4F73-B446-2016E88023A9}"/>
              </a:ext>
            </a:extLst>
          </p:cNvPr>
          <p:cNvCxnSpPr>
            <a:cxnSpLocks/>
          </p:cNvCxnSpPr>
          <p:nvPr/>
        </p:nvCxnSpPr>
        <p:spPr>
          <a:xfrm>
            <a:off x="3379304" y="3578087"/>
            <a:ext cx="887896" cy="0"/>
          </a:xfrm>
          <a:prstGeom prst="line">
            <a:avLst/>
          </a:prstGeom>
          <a:effectLst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03A005A-9E58-42B7-AFF8-C38FFD30678E}"/>
              </a:ext>
            </a:extLst>
          </p:cNvPr>
          <p:cNvCxnSpPr>
            <a:cxnSpLocks/>
          </p:cNvCxnSpPr>
          <p:nvPr/>
        </p:nvCxnSpPr>
        <p:spPr>
          <a:xfrm>
            <a:off x="4777408" y="3054628"/>
            <a:ext cx="258418" cy="0"/>
          </a:xfrm>
          <a:prstGeom prst="line">
            <a:avLst/>
          </a:prstGeom>
          <a:effectLst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2C71A924-7E5D-4EFA-A15A-6EB67C203C6E}"/>
              </a:ext>
            </a:extLst>
          </p:cNvPr>
          <p:cNvCxnSpPr>
            <a:cxnSpLocks/>
          </p:cNvCxnSpPr>
          <p:nvPr/>
        </p:nvCxnSpPr>
        <p:spPr>
          <a:xfrm>
            <a:off x="4777408" y="3584714"/>
            <a:ext cx="258418" cy="0"/>
          </a:xfrm>
          <a:prstGeom prst="line">
            <a:avLst/>
          </a:prstGeom>
          <a:effectLst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5967F3A1-5AB3-41C5-BFD6-C7023199B5D0}"/>
              </a:ext>
            </a:extLst>
          </p:cNvPr>
          <p:cNvCxnSpPr>
            <a:cxnSpLocks/>
          </p:cNvCxnSpPr>
          <p:nvPr/>
        </p:nvCxnSpPr>
        <p:spPr>
          <a:xfrm>
            <a:off x="4906617" y="4128053"/>
            <a:ext cx="434009" cy="0"/>
          </a:xfrm>
          <a:prstGeom prst="line">
            <a:avLst/>
          </a:prstGeom>
          <a:effectLst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EDF6019E-6FFC-428E-B4C5-012DC376E6E9}"/>
              </a:ext>
            </a:extLst>
          </p:cNvPr>
          <p:cNvCxnSpPr>
            <a:cxnSpLocks/>
          </p:cNvCxnSpPr>
          <p:nvPr/>
        </p:nvCxnSpPr>
        <p:spPr>
          <a:xfrm>
            <a:off x="8295861" y="4750905"/>
            <a:ext cx="1603513" cy="0"/>
          </a:xfrm>
          <a:prstGeom prst="line">
            <a:avLst/>
          </a:prstGeom>
          <a:effectLst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8CA810DB-CA6C-4926-AF9A-83173AB828CE}"/>
              </a:ext>
            </a:extLst>
          </p:cNvPr>
          <p:cNvCxnSpPr>
            <a:cxnSpLocks/>
          </p:cNvCxnSpPr>
          <p:nvPr/>
        </p:nvCxnSpPr>
        <p:spPr>
          <a:xfrm>
            <a:off x="10568609" y="4750905"/>
            <a:ext cx="192156" cy="0"/>
          </a:xfrm>
          <a:prstGeom prst="line">
            <a:avLst/>
          </a:prstGeom>
          <a:effectLst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243AAB67-8C42-45FF-AC96-228CD8EBE1BC}"/>
              </a:ext>
            </a:extLst>
          </p:cNvPr>
          <p:cNvCxnSpPr>
            <a:cxnSpLocks/>
          </p:cNvCxnSpPr>
          <p:nvPr/>
        </p:nvCxnSpPr>
        <p:spPr>
          <a:xfrm>
            <a:off x="7142922" y="5565914"/>
            <a:ext cx="887895" cy="0"/>
          </a:xfrm>
          <a:prstGeom prst="line">
            <a:avLst/>
          </a:prstGeom>
          <a:effectLst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34680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790A2B-6095-4F44-8EA0-3CC1EA22E5A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33670" y="1122361"/>
            <a:ext cx="4147929" cy="547411"/>
          </a:xfrm>
        </p:spPr>
        <p:txBody>
          <a:bodyPr/>
          <a:lstStyle/>
          <a:p>
            <a:r>
              <a:rPr lang="en-US" sz="4000"/>
              <a:t>Bài 2: Abstractio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07F680F-F140-40F4-BE08-2A125B8CE82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33670" y="1910894"/>
            <a:ext cx="9329530" cy="1550505"/>
          </a:xfrm>
          <a:ln>
            <a:noFill/>
          </a:ln>
        </p:spPr>
        <p:txBody>
          <a:bodyPr/>
          <a:lstStyle/>
          <a:p>
            <a:pPr marL="0" marR="0" algn="just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4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NPUT: mảng days gồm n phần tử</a:t>
            </a:r>
          </a:p>
          <a:p>
            <a:pPr marL="0" marR="0" algn="just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ó 3 loại: 1 ngày 2k, 7 ngày 7k, 30 ngày 25k</a:t>
            </a:r>
          </a:p>
          <a:p>
            <a:pPr marL="0" marR="0" algn="just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UTPUT: chi phí tối thiểu?</a:t>
            </a:r>
            <a:endParaRPr lang="en-US" sz="2400">
              <a:solidFill>
                <a:schemeClr val="tx1"/>
              </a:solidFill>
            </a:endParaRPr>
          </a:p>
          <a:p>
            <a:pPr algn="just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BE3DCB1D-7405-485A-98A0-4D4705B2AF27}"/>
              </a:ext>
            </a:extLst>
          </p:cNvPr>
          <p:cNvSpPr/>
          <p:nvPr/>
        </p:nvSpPr>
        <p:spPr>
          <a:xfrm rot="5400000">
            <a:off x="-345132" y="1024277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403824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790A2B-6095-4F44-8EA0-3CC1EA22E5A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33670" y="1122361"/>
            <a:ext cx="5976729" cy="547411"/>
          </a:xfrm>
        </p:spPr>
        <p:txBody>
          <a:bodyPr/>
          <a:lstStyle/>
          <a:p>
            <a:r>
              <a:rPr lang="en-US" sz="4000"/>
              <a:t>Bài 2: Pattern recognition</a:t>
            </a: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BE3DCB1D-7405-485A-98A0-4D4705B2AF27}"/>
              </a:ext>
            </a:extLst>
          </p:cNvPr>
          <p:cNvSpPr/>
          <p:nvPr/>
        </p:nvSpPr>
        <p:spPr>
          <a:xfrm rot="5400000">
            <a:off x="-345132" y="1024277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65D5DA20-28D4-41BD-846B-95C7669F615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702538"/>
            <a:ext cx="9144000" cy="4141671"/>
          </a:xfrm>
        </p:spPr>
        <p:txBody>
          <a:bodyPr/>
          <a:lstStyle/>
          <a:p>
            <a:pPr marL="0" marR="0"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000">
                <a:solidFill>
                  <a:schemeClr val="tx1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í d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ụ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m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ẫ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u:</a:t>
            </a:r>
            <a:r>
              <a:rPr lang="en-US" sz="2000">
                <a:solidFill>
                  <a:schemeClr val="tx1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pPr marL="342900" marR="0" indent="-342900"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M</a:t>
            </a:r>
            <a:r>
              <a:rPr lang="vi-VN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ả</a:t>
            </a:r>
            <a:r>
              <a:rPr lang="en-US" sz="200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g days = {1}</a:t>
            </a:r>
          </a:p>
          <a:p>
            <a:pPr marL="0" marR="0"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000">
                <a:solidFill>
                  <a:schemeClr val="tx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Có 3 tường hợp là mua 1 vé 1 ngày, mua vé 7 ngày và mua vé 30 ngày.</a:t>
            </a:r>
          </a:p>
          <a:p>
            <a:pPr marL="0" marR="0"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000">
                <a:solidFill>
                  <a:schemeClr val="tx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Mua vé 1 ngày ít tốn nhất (4k) nên đây là kết quả</a:t>
            </a:r>
          </a:p>
          <a:p>
            <a:pPr marL="342900" marR="0" indent="-342900"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tx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Mảng days = {1, 3}. Chi phí thấp nhất là 8k</a:t>
            </a:r>
          </a:p>
          <a:p>
            <a:pPr marL="342900" marR="0" indent="-342900"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tx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Mảng days = {1, 3, 5}. Chi phí thấp nhất là 12k</a:t>
            </a:r>
          </a:p>
          <a:p>
            <a:pPr marL="342900" marR="0" indent="-342900"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tx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Mảng days = {1, 3, 5, 7}.Chi phí thấp nhất là 25k</a:t>
            </a:r>
          </a:p>
          <a:p>
            <a:pPr marL="342900" marR="0" indent="-342900"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tx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Mảng days = {1, 3, 5, 7, 29}. Chi phí thấp nhất là 29k</a:t>
            </a:r>
          </a:p>
          <a:p>
            <a:pPr marR="0"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000">
                <a:solidFill>
                  <a:schemeClr val="tx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=&gt;  mỗi lần xét thêm 1 phần tử thì tìm chi phí nhỏ nhất</a:t>
            </a:r>
          </a:p>
          <a:p>
            <a:pPr marR="0"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endParaRPr lang="en-US" sz="2000">
              <a:solidFill>
                <a:schemeClr val="tx1"/>
              </a:solidFill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0" marR="0"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endParaRPr lang="en-US" sz="2000">
              <a:solidFill>
                <a:schemeClr val="tx1"/>
              </a:solidFill>
              <a:effectLst/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0" marR="0"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endParaRPr lang="en-US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98359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790A2B-6095-4F44-8EA0-3CC1EA22E5A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33670" y="1122361"/>
            <a:ext cx="5976729" cy="547411"/>
          </a:xfrm>
        </p:spPr>
        <p:txBody>
          <a:bodyPr/>
          <a:lstStyle/>
          <a:p>
            <a:r>
              <a:rPr lang="en-US" sz="4000"/>
              <a:t>Bài 2: Pattern recognition</a:t>
            </a: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BE3DCB1D-7405-485A-98A0-4D4705B2AF27}"/>
              </a:ext>
            </a:extLst>
          </p:cNvPr>
          <p:cNvSpPr/>
          <p:nvPr/>
        </p:nvSpPr>
        <p:spPr>
          <a:xfrm rot="5400000">
            <a:off x="-345132" y="1024277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65D5DA20-28D4-41BD-846B-95C7669F615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702538"/>
            <a:ext cx="9144000" cy="4141671"/>
          </a:xfrm>
        </p:spPr>
        <p:txBody>
          <a:bodyPr/>
          <a:lstStyle/>
          <a:p>
            <a:pPr marR="0"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endParaRPr lang="en-US" sz="2000">
              <a:solidFill>
                <a:schemeClr val="tx1"/>
              </a:solidFill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0" marR="0"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endParaRPr lang="en-US" sz="2000">
              <a:solidFill>
                <a:schemeClr val="tx1"/>
              </a:solidFill>
              <a:effectLst/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0" marR="0" algn="l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endParaRPr lang="en-US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46448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B56E585F-FA6B-4F7A-9AF3-77002E15F7C9}"/>
              </a:ext>
            </a:extLst>
          </p:cNvPr>
          <p:cNvSpPr txBox="1">
            <a:spLocks/>
          </p:cNvSpPr>
          <p:nvPr/>
        </p:nvSpPr>
        <p:spPr>
          <a:xfrm>
            <a:off x="743581" y="1122361"/>
            <a:ext cx="4452731" cy="5474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60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marR="0" lvl="1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marR="0" lvl="2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marR="0" lvl="3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marR="0" lvl="4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marR="0" lvl="5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marR="0" lvl="6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marR="0" lvl="7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marR="0" lvl="8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r>
              <a:rPr lang="en-US" sz="4000"/>
              <a:t>Bài 2: Algorithm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07F680F-F140-40F4-BE08-2A125B8CE82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13183" y="2112989"/>
            <a:ext cx="9144000" cy="4200941"/>
          </a:xfrm>
        </p:spPr>
        <p:txBody>
          <a:bodyPr/>
          <a:lstStyle/>
          <a:p>
            <a:pPr algn="l" defTabSz="457200">
              <a:spcBef>
                <a:spcPts val="0"/>
              </a:spcBef>
            </a:pPr>
            <a:r>
              <a:rPr lang="en-US" sz="1600">
                <a:latin typeface="Consolas" panose="020B0609020204030204" pitchFamily="49" charset="0"/>
              </a:rPr>
              <a:t>n = max(days)</a:t>
            </a:r>
          </a:p>
          <a:p>
            <a:pPr algn="l" defTabSz="457200">
              <a:spcBef>
                <a:spcPts val="0"/>
              </a:spcBef>
            </a:pPr>
            <a:r>
              <a:rPr lang="en-US" sz="1600">
                <a:latin typeface="Consolas" panose="020B0609020204030204" pitchFamily="49" charset="0"/>
              </a:rPr>
              <a:t>days = set(days)</a:t>
            </a:r>
          </a:p>
          <a:p>
            <a:pPr algn="l" defTabSz="457200">
              <a:spcBef>
                <a:spcPts val="0"/>
              </a:spcBef>
            </a:pPr>
            <a:r>
              <a:rPr lang="en-US" sz="1600">
                <a:latin typeface="Consolas" panose="020B0609020204030204" pitchFamily="49" charset="0"/>
              </a:rPr>
              <a:t>dp = [0] * (n + 1)</a:t>
            </a:r>
          </a:p>
          <a:p>
            <a:pPr algn="l" defTabSz="457200">
              <a:spcBef>
                <a:spcPts val="0"/>
              </a:spcBef>
            </a:pPr>
            <a:r>
              <a:rPr lang="en-US" sz="1600">
                <a:latin typeface="Consolas" panose="020B0609020204030204" pitchFamily="49" charset="0"/>
              </a:rPr>
              <a:t>for i in range(1, n + 1):</a:t>
            </a:r>
          </a:p>
          <a:p>
            <a:pPr algn="l" defTabSz="457200">
              <a:spcBef>
                <a:spcPts val="0"/>
              </a:spcBef>
            </a:pPr>
            <a:r>
              <a:rPr lang="en-US" sz="1600">
                <a:latin typeface="Consolas" panose="020B0609020204030204" pitchFamily="49" charset="0"/>
              </a:rPr>
              <a:t>	if i in days:</a:t>
            </a:r>
          </a:p>
          <a:p>
            <a:pPr algn="l" defTabSz="457200">
              <a:spcBef>
                <a:spcPts val="0"/>
              </a:spcBef>
            </a:pPr>
            <a:r>
              <a:rPr lang="en-US" sz="1600">
                <a:latin typeface="Consolas" panose="020B0609020204030204" pitchFamily="49" charset="0"/>
              </a:rPr>
              <a:t>		if i &gt;= 30:</a:t>
            </a:r>
          </a:p>
          <a:p>
            <a:pPr algn="l" defTabSz="457200">
              <a:spcBef>
                <a:spcPts val="0"/>
              </a:spcBef>
            </a:pPr>
            <a:r>
              <a:rPr lang="en-US" sz="1600">
                <a:latin typeface="Consolas" panose="020B0609020204030204" pitchFamily="49" charset="0"/>
              </a:rPr>
              <a:t>			dp[i] = min(dp[i - 1] + 2, dp[i - 7] + 7, dp[i - 30] + 25)</a:t>
            </a:r>
          </a:p>
          <a:p>
            <a:pPr algn="l" defTabSz="457200">
              <a:spcBef>
                <a:spcPts val="0"/>
              </a:spcBef>
            </a:pPr>
            <a:r>
              <a:rPr lang="en-US" sz="1600">
                <a:latin typeface="Consolas" panose="020B0609020204030204" pitchFamily="49" charset="0"/>
              </a:rPr>
              <a:t>		elif i &gt;= 7:</a:t>
            </a:r>
          </a:p>
          <a:p>
            <a:pPr algn="l" defTabSz="457200">
              <a:spcBef>
                <a:spcPts val="0"/>
              </a:spcBef>
            </a:pPr>
            <a:r>
              <a:rPr lang="en-US" sz="1600">
                <a:latin typeface="Consolas" panose="020B0609020204030204" pitchFamily="49" charset="0"/>
              </a:rPr>
              <a:t>			dp[i] = min(dp[i - 1] + 2, dp[i - 7] + 7, 25)</a:t>
            </a:r>
          </a:p>
          <a:p>
            <a:pPr algn="l" defTabSz="457200">
              <a:spcBef>
                <a:spcPts val="0"/>
              </a:spcBef>
            </a:pPr>
            <a:r>
              <a:rPr lang="en-US" sz="1600">
                <a:latin typeface="Consolas" panose="020B0609020204030204" pitchFamily="49" charset="0"/>
              </a:rPr>
              <a:t>		else:</a:t>
            </a:r>
          </a:p>
          <a:p>
            <a:pPr algn="l" defTabSz="457200">
              <a:spcBef>
                <a:spcPts val="0"/>
              </a:spcBef>
            </a:pPr>
            <a:r>
              <a:rPr lang="en-US" sz="1600">
                <a:latin typeface="Consolas" panose="020B0609020204030204" pitchFamily="49" charset="0"/>
              </a:rPr>
              <a:t>			dp[i] = min(dp[i - 1] + 2, 7)</a:t>
            </a:r>
          </a:p>
          <a:p>
            <a:pPr algn="l" defTabSz="457200">
              <a:spcBef>
                <a:spcPts val="0"/>
              </a:spcBef>
            </a:pPr>
            <a:r>
              <a:rPr lang="en-US" sz="1600">
                <a:latin typeface="Consolas" panose="020B0609020204030204" pitchFamily="49" charset="0"/>
              </a:rPr>
              <a:t>	else:</a:t>
            </a:r>
          </a:p>
          <a:p>
            <a:pPr algn="l" defTabSz="457200">
              <a:spcBef>
                <a:spcPts val="0"/>
              </a:spcBef>
            </a:pPr>
            <a:r>
              <a:rPr lang="en-US" sz="1600">
                <a:latin typeface="Consolas" panose="020B0609020204030204" pitchFamily="49" charset="0"/>
              </a:rPr>
              <a:t>		dp[i] = dp[i - 1]</a:t>
            </a:r>
          </a:p>
          <a:p>
            <a:pPr algn="l" defTabSz="457200">
              <a:spcBef>
                <a:spcPts val="0"/>
              </a:spcBef>
            </a:pPr>
            <a:r>
              <a:rPr lang="en-US" sz="1600">
                <a:latin typeface="Consolas" panose="020B0609020204030204" pitchFamily="49" charset="0"/>
              </a:rPr>
              <a:t>return dp[n]</a:t>
            </a: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BE3DCB1D-7405-485A-98A0-4D4705B2AF27}"/>
              </a:ext>
            </a:extLst>
          </p:cNvPr>
          <p:cNvSpPr/>
          <p:nvPr/>
        </p:nvSpPr>
        <p:spPr>
          <a:xfrm rot="5400000">
            <a:off x="-345132" y="1024277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51585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3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A37FAF-BC38-43F6-B47E-7C8E5E8E222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75962" y="1087905"/>
            <a:ext cx="4572000" cy="1050994"/>
          </a:xfrm>
        </p:spPr>
        <p:txBody>
          <a:bodyPr/>
          <a:lstStyle/>
          <a:p>
            <a:r>
              <a:rPr lang="en-US" sz="4400"/>
              <a:t>Thành viên nhóm: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52E238A-C508-4152-BA09-05FF7E45E3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06893" y="2429219"/>
            <a:ext cx="5045908" cy="3294441"/>
          </a:xfrm>
        </p:spPr>
        <p:txBody>
          <a:bodyPr/>
          <a:lstStyle/>
          <a:p>
            <a:pPr marL="457200" lvl="0" indent="-342900" algn="l" rtl="0">
              <a:spcBef>
                <a:spcPts val="600"/>
              </a:spcBef>
              <a:spcAft>
                <a:spcPts val="0"/>
              </a:spcAft>
              <a:buSzPts val="1800"/>
              <a:buChar char="▸"/>
            </a:pPr>
            <a:r>
              <a:rPr lang="en-US"/>
              <a:t>Nguyễn Lộc Linh</a:t>
            </a:r>
          </a:p>
          <a:p>
            <a:pPr marL="457200" lvl="0" indent="-342900" algn="l" rtl="0">
              <a:spcBef>
                <a:spcPts val="0"/>
              </a:spcBef>
              <a:spcAft>
                <a:spcPts val="0"/>
              </a:spcAft>
              <a:buSzPts val="1800"/>
              <a:buChar char="▸"/>
            </a:pPr>
            <a:r>
              <a:rPr lang="en-US"/>
              <a:t>Trần Duy Quang</a:t>
            </a:r>
          </a:p>
          <a:p>
            <a:pPr marL="457200" lvl="0" indent="-342900" algn="l" rtl="0">
              <a:spcBef>
                <a:spcPts val="0"/>
              </a:spcBef>
              <a:spcAft>
                <a:spcPts val="0"/>
              </a:spcAft>
              <a:buSzPts val="1800"/>
              <a:buChar char="▸"/>
            </a:pPr>
            <a:r>
              <a:rPr lang="en-US"/>
              <a:t>Nguyễn Trí Tài</a:t>
            </a:r>
          </a:p>
          <a:p>
            <a:pPr marL="457200" lvl="0" indent="-342900" algn="l" rtl="0">
              <a:spcBef>
                <a:spcPts val="0"/>
              </a:spcBef>
              <a:spcAft>
                <a:spcPts val="0"/>
              </a:spcAft>
              <a:buSzPts val="1800"/>
              <a:buChar char="▸"/>
            </a:pPr>
            <a:r>
              <a:rPr lang="en-US"/>
              <a:t>Vũ Quốc Huy</a:t>
            </a:r>
          </a:p>
          <a:p>
            <a:pPr marL="457200" lvl="0" indent="-342900" algn="l" rtl="0">
              <a:spcBef>
                <a:spcPts val="0"/>
              </a:spcBef>
              <a:spcAft>
                <a:spcPts val="0"/>
              </a:spcAft>
              <a:buSzPts val="1800"/>
              <a:buChar char="▸"/>
            </a:pPr>
            <a:endParaRPr lang="en-US"/>
          </a:p>
          <a:p>
            <a:pPr marL="457200" lvl="0" indent="-342900" algn="l" rtl="0">
              <a:spcBef>
                <a:spcPts val="0"/>
              </a:spcBef>
              <a:spcAft>
                <a:spcPts val="0"/>
              </a:spcAft>
              <a:buSzPts val="1800"/>
              <a:buChar char="▸"/>
            </a:pPr>
            <a:r>
              <a:rPr lang="en-US"/>
              <a:t>Giảng viên: Nguyễn Thanh Sơn</a:t>
            </a:r>
          </a:p>
          <a:p>
            <a:pPr algn="l"/>
            <a:endParaRPr lang="en-US"/>
          </a:p>
        </p:txBody>
      </p:sp>
      <p:grpSp>
        <p:nvGrpSpPr>
          <p:cNvPr id="4" name="Google Shape;744;p18">
            <a:extLst>
              <a:ext uri="{FF2B5EF4-FFF2-40B4-BE49-F238E27FC236}">
                <a16:creationId xmlns:a16="http://schemas.microsoft.com/office/drawing/2014/main" id="{5B768D39-5934-42FA-8818-E86A3A25E311}"/>
              </a:ext>
            </a:extLst>
          </p:cNvPr>
          <p:cNvGrpSpPr/>
          <p:nvPr/>
        </p:nvGrpSpPr>
        <p:grpSpPr>
          <a:xfrm>
            <a:off x="7199040" y="1453723"/>
            <a:ext cx="3561725" cy="3950553"/>
            <a:chOff x="2152750" y="190500"/>
            <a:chExt cx="4293756" cy="4762499"/>
          </a:xfrm>
        </p:grpSpPr>
        <p:sp>
          <p:nvSpPr>
            <p:cNvPr id="5" name="Google Shape;745;p18">
              <a:extLst>
                <a:ext uri="{FF2B5EF4-FFF2-40B4-BE49-F238E27FC236}">
                  <a16:creationId xmlns:a16="http://schemas.microsoft.com/office/drawing/2014/main" id="{CA837D6D-CDB2-4F12-96FE-60980E4C5958}"/>
                </a:ext>
              </a:extLst>
            </p:cNvPr>
            <p:cNvSpPr/>
            <p:nvPr/>
          </p:nvSpPr>
          <p:spPr>
            <a:xfrm>
              <a:off x="2152750" y="2957607"/>
              <a:ext cx="756691" cy="437959"/>
            </a:xfrm>
            <a:custGeom>
              <a:avLst/>
              <a:gdLst/>
              <a:ahLst/>
              <a:cxnLst/>
              <a:rect l="l" t="t" r="r" b="b"/>
              <a:pathLst>
                <a:path w="756691" h="437959" extrusionOk="0">
                  <a:moveTo>
                    <a:pt x="756692" y="218980"/>
                  </a:moveTo>
                  <a:cubicBezTo>
                    <a:pt x="756692" y="339919"/>
                    <a:pt x="587300" y="437959"/>
                    <a:pt x="378346" y="437959"/>
                  </a:cubicBezTo>
                  <a:cubicBezTo>
                    <a:pt x="169391" y="437959"/>
                    <a:pt x="0" y="339919"/>
                    <a:pt x="0" y="218980"/>
                  </a:cubicBezTo>
                  <a:cubicBezTo>
                    <a:pt x="0" y="98041"/>
                    <a:pt x="169391" y="0"/>
                    <a:pt x="378346" y="0"/>
                  </a:cubicBezTo>
                  <a:cubicBezTo>
                    <a:pt x="587300" y="0"/>
                    <a:pt x="756692" y="98041"/>
                    <a:pt x="756692" y="21898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" name="Google Shape;746;p18">
              <a:extLst>
                <a:ext uri="{FF2B5EF4-FFF2-40B4-BE49-F238E27FC236}">
                  <a16:creationId xmlns:a16="http://schemas.microsoft.com/office/drawing/2014/main" id="{8D3CD17D-8A21-4454-ACA2-28A20D1839D4}"/>
                </a:ext>
              </a:extLst>
            </p:cNvPr>
            <p:cNvSpPr/>
            <p:nvPr/>
          </p:nvSpPr>
          <p:spPr>
            <a:xfrm>
              <a:off x="2318956" y="3109336"/>
              <a:ext cx="225716" cy="175248"/>
            </a:xfrm>
            <a:custGeom>
              <a:avLst/>
              <a:gdLst/>
              <a:ahLst/>
              <a:cxnLst/>
              <a:rect l="l" t="t" r="r" b="b"/>
              <a:pathLst>
                <a:path w="225716" h="175248" extrusionOk="0">
                  <a:moveTo>
                    <a:pt x="18072" y="5"/>
                  </a:moveTo>
                  <a:cubicBezTo>
                    <a:pt x="45158" y="22103"/>
                    <a:pt x="85074" y="1910"/>
                    <a:pt x="87070" y="3910"/>
                  </a:cubicBezTo>
                  <a:cubicBezTo>
                    <a:pt x="118886" y="33494"/>
                    <a:pt x="152260" y="61346"/>
                    <a:pt x="187050" y="87349"/>
                  </a:cubicBezTo>
                  <a:cubicBezTo>
                    <a:pt x="203871" y="100684"/>
                    <a:pt x="230197" y="118400"/>
                    <a:pt x="225065" y="144023"/>
                  </a:cubicBezTo>
                  <a:cubicBezTo>
                    <a:pt x="216511" y="189742"/>
                    <a:pt x="143522" y="175646"/>
                    <a:pt x="115961" y="161644"/>
                  </a:cubicBezTo>
                  <a:cubicBezTo>
                    <a:pt x="88400" y="147642"/>
                    <a:pt x="65876" y="124496"/>
                    <a:pt x="39931" y="108304"/>
                  </a:cubicBezTo>
                  <a:cubicBezTo>
                    <a:pt x="20924" y="96683"/>
                    <a:pt x="2961" y="90682"/>
                    <a:pt x="110" y="67156"/>
                  </a:cubicBezTo>
                  <a:cubicBezTo>
                    <a:pt x="-1410" y="52964"/>
                    <a:pt x="13225" y="-567"/>
                    <a:pt x="18072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" name="Google Shape;747;p18">
              <a:extLst>
                <a:ext uri="{FF2B5EF4-FFF2-40B4-BE49-F238E27FC236}">
                  <a16:creationId xmlns:a16="http://schemas.microsoft.com/office/drawing/2014/main" id="{818FB657-C642-4100-9730-4E99A84A11E6}"/>
                </a:ext>
              </a:extLst>
            </p:cNvPr>
            <p:cNvSpPr/>
            <p:nvPr/>
          </p:nvSpPr>
          <p:spPr>
            <a:xfrm>
              <a:off x="2319304" y="3166967"/>
              <a:ext cx="224715" cy="117585"/>
            </a:xfrm>
            <a:custGeom>
              <a:avLst/>
              <a:gdLst/>
              <a:ahLst/>
              <a:cxnLst/>
              <a:rect l="l" t="t" r="r" b="b"/>
              <a:pathLst>
                <a:path w="224715" h="117585" extrusionOk="0">
                  <a:moveTo>
                    <a:pt x="427" y="0"/>
                  </a:moveTo>
                  <a:cubicBezTo>
                    <a:pt x="3943" y="22574"/>
                    <a:pt x="22000" y="28575"/>
                    <a:pt x="40533" y="40291"/>
                  </a:cubicBezTo>
                  <a:cubicBezTo>
                    <a:pt x="66953" y="56769"/>
                    <a:pt x="90332" y="80582"/>
                    <a:pt x="117893" y="94583"/>
                  </a:cubicBezTo>
                  <a:cubicBezTo>
                    <a:pt x="143364" y="107442"/>
                    <a:pt x="206849" y="120301"/>
                    <a:pt x="224716" y="87630"/>
                  </a:cubicBezTo>
                  <a:cubicBezTo>
                    <a:pt x="215212" y="131731"/>
                    <a:pt x="143269" y="117920"/>
                    <a:pt x="115993" y="104013"/>
                  </a:cubicBezTo>
                  <a:cubicBezTo>
                    <a:pt x="88717" y="90107"/>
                    <a:pt x="65908" y="66866"/>
                    <a:pt x="39962" y="50673"/>
                  </a:cubicBezTo>
                  <a:cubicBezTo>
                    <a:pt x="20955" y="39053"/>
                    <a:pt x="2993" y="33052"/>
                    <a:pt x="142" y="9525"/>
                  </a:cubicBezTo>
                  <a:cubicBezTo>
                    <a:pt x="-117" y="6353"/>
                    <a:pt x="-21" y="3153"/>
                    <a:pt x="42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" name="Google Shape;748;p18">
              <a:extLst>
                <a:ext uri="{FF2B5EF4-FFF2-40B4-BE49-F238E27FC236}">
                  <a16:creationId xmlns:a16="http://schemas.microsoft.com/office/drawing/2014/main" id="{1DD83CFC-6A5B-4F03-81D5-E692B562B105}"/>
                </a:ext>
              </a:extLst>
            </p:cNvPr>
            <p:cNvSpPr/>
            <p:nvPr/>
          </p:nvSpPr>
          <p:spPr>
            <a:xfrm>
              <a:off x="2550431" y="3021675"/>
              <a:ext cx="225586" cy="168802"/>
            </a:xfrm>
            <a:custGeom>
              <a:avLst/>
              <a:gdLst/>
              <a:ahLst/>
              <a:cxnLst/>
              <a:rect l="l" t="t" r="r" b="b"/>
              <a:pathLst>
                <a:path w="225586" h="168802" extrusionOk="0">
                  <a:moveTo>
                    <a:pt x="21626" y="130"/>
                  </a:moveTo>
                  <a:cubicBezTo>
                    <a:pt x="48617" y="22228"/>
                    <a:pt x="96040" y="-1965"/>
                    <a:pt x="97656" y="130"/>
                  </a:cubicBezTo>
                  <a:cubicBezTo>
                    <a:pt x="125867" y="28715"/>
                    <a:pt x="155661" y="55680"/>
                    <a:pt x="186897" y="80902"/>
                  </a:cubicBezTo>
                  <a:cubicBezTo>
                    <a:pt x="203813" y="94237"/>
                    <a:pt x="230139" y="111954"/>
                    <a:pt x="224912" y="137576"/>
                  </a:cubicBezTo>
                  <a:cubicBezTo>
                    <a:pt x="216358" y="183296"/>
                    <a:pt x="143369" y="169199"/>
                    <a:pt x="115808" y="155197"/>
                  </a:cubicBezTo>
                  <a:cubicBezTo>
                    <a:pt x="88247" y="141196"/>
                    <a:pt x="65723" y="118050"/>
                    <a:pt x="39778" y="101857"/>
                  </a:cubicBezTo>
                  <a:cubicBezTo>
                    <a:pt x="20770" y="90237"/>
                    <a:pt x="2903" y="84236"/>
                    <a:pt x="52" y="60709"/>
                  </a:cubicBezTo>
                  <a:cubicBezTo>
                    <a:pt x="-1088" y="46517"/>
                    <a:pt x="16779" y="-441"/>
                    <a:pt x="21626" y="13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" name="Google Shape;749;p18">
              <a:extLst>
                <a:ext uri="{FF2B5EF4-FFF2-40B4-BE49-F238E27FC236}">
                  <a16:creationId xmlns:a16="http://schemas.microsoft.com/office/drawing/2014/main" id="{FB9CF046-80EC-418A-94CE-3D24C9FF14CC}"/>
                </a:ext>
              </a:extLst>
            </p:cNvPr>
            <p:cNvSpPr/>
            <p:nvPr/>
          </p:nvSpPr>
          <p:spPr>
            <a:xfrm>
              <a:off x="2551534" y="3076575"/>
              <a:ext cx="224758" cy="117584"/>
            </a:xfrm>
            <a:custGeom>
              <a:avLst/>
              <a:gdLst/>
              <a:ahLst/>
              <a:cxnLst/>
              <a:rect l="l" t="t" r="r" b="b"/>
              <a:pathLst>
                <a:path w="224758" h="117584" extrusionOk="0">
                  <a:moveTo>
                    <a:pt x="375" y="0"/>
                  </a:moveTo>
                  <a:cubicBezTo>
                    <a:pt x="3986" y="22574"/>
                    <a:pt x="22043" y="28575"/>
                    <a:pt x="40481" y="40291"/>
                  </a:cubicBezTo>
                  <a:cubicBezTo>
                    <a:pt x="66996" y="56769"/>
                    <a:pt x="90375" y="80581"/>
                    <a:pt x="117841" y="94583"/>
                  </a:cubicBezTo>
                  <a:cubicBezTo>
                    <a:pt x="143312" y="107442"/>
                    <a:pt x="206892" y="120301"/>
                    <a:pt x="224759" y="87630"/>
                  </a:cubicBezTo>
                  <a:cubicBezTo>
                    <a:pt x="215255" y="131731"/>
                    <a:pt x="143217" y="117920"/>
                    <a:pt x="115941" y="104013"/>
                  </a:cubicBezTo>
                  <a:cubicBezTo>
                    <a:pt x="88665" y="90106"/>
                    <a:pt x="65951" y="66865"/>
                    <a:pt x="39910" y="50673"/>
                  </a:cubicBezTo>
                  <a:cubicBezTo>
                    <a:pt x="21378" y="39053"/>
                    <a:pt x="3036" y="33052"/>
                    <a:pt x="185" y="9525"/>
                  </a:cubicBezTo>
                  <a:cubicBezTo>
                    <a:pt x="-114" y="6353"/>
                    <a:pt x="-50" y="3153"/>
                    <a:pt x="37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" name="Google Shape;750;p18">
              <a:extLst>
                <a:ext uri="{FF2B5EF4-FFF2-40B4-BE49-F238E27FC236}">
                  <a16:creationId xmlns:a16="http://schemas.microsoft.com/office/drawing/2014/main" id="{F30598DE-DDE9-4106-B26C-BF58FE8C2CDE}"/>
                </a:ext>
              </a:extLst>
            </p:cNvPr>
            <p:cNvSpPr/>
            <p:nvPr/>
          </p:nvSpPr>
          <p:spPr>
            <a:xfrm>
              <a:off x="2330724" y="2010537"/>
              <a:ext cx="387976" cy="1115665"/>
            </a:xfrm>
            <a:custGeom>
              <a:avLst/>
              <a:gdLst/>
              <a:ahLst/>
              <a:cxnLst/>
              <a:rect l="l" t="t" r="r" b="b"/>
              <a:pathLst>
                <a:path w="387976" h="1115665" extrusionOk="0">
                  <a:moveTo>
                    <a:pt x="4689" y="96964"/>
                  </a:moveTo>
                  <a:cubicBezTo>
                    <a:pt x="6019" y="138017"/>
                    <a:pt x="18754" y="316039"/>
                    <a:pt x="24456" y="410623"/>
                  </a:cubicBezTo>
                  <a:cubicBezTo>
                    <a:pt x="30159" y="505206"/>
                    <a:pt x="31489" y="620173"/>
                    <a:pt x="31489" y="620173"/>
                  </a:cubicBezTo>
                  <a:cubicBezTo>
                    <a:pt x="31489" y="620173"/>
                    <a:pt x="15238" y="688943"/>
                    <a:pt x="4689" y="769715"/>
                  </a:cubicBezTo>
                  <a:cubicBezTo>
                    <a:pt x="-5861" y="850487"/>
                    <a:pt x="4689" y="1105472"/>
                    <a:pt x="4689" y="1105472"/>
                  </a:cubicBezTo>
                  <a:cubicBezTo>
                    <a:pt x="25827" y="1119064"/>
                    <a:pt x="52928" y="1119064"/>
                    <a:pt x="74066" y="1105472"/>
                  </a:cubicBezTo>
                  <a:cubicBezTo>
                    <a:pt x="74066" y="1105472"/>
                    <a:pt x="117403" y="901446"/>
                    <a:pt x="137456" y="809530"/>
                  </a:cubicBezTo>
                  <a:cubicBezTo>
                    <a:pt x="157509" y="717614"/>
                    <a:pt x="161026" y="664559"/>
                    <a:pt x="171480" y="607600"/>
                  </a:cubicBezTo>
                  <a:cubicBezTo>
                    <a:pt x="184025" y="538639"/>
                    <a:pt x="211206" y="217075"/>
                    <a:pt x="211206" y="217075"/>
                  </a:cubicBezTo>
                  <a:lnTo>
                    <a:pt x="222040" y="217742"/>
                  </a:lnTo>
                  <a:lnTo>
                    <a:pt x="250551" y="580930"/>
                  </a:lnTo>
                  <a:cubicBezTo>
                    <a:pt x="241642" y="607685"/>
                    <a:pt x="235526" y="635299"/>
                    <a:pt x="232304" y="663321"/>
                  </a:cubicBezTo>
                  <a:cubicBezTo>
                    <a:pt x="224416" y="722471"/>
                    <a:pt x="240573" y="1020127"/>
                    <a:pt x="240573" y="1020127"/>
                  </a:cubicBezTo>
                  <a:cubicBezTo>
                    <a:pt x="264164" y="1033272"/>
                    <a:pt x="293106" y="1032091"/>
                    <a:pt x="315557" y="1017079"/>
                  </a:cubicBezTo>
                  <a:cubicBezTo>
                    <a:pt x="315557" y="1017079"/>
                    <a:pt x="387976" y="622840"/>
                    <a:pt x="387976" y="562832"/>
                  </a:cubicBezTo>
                  <a:cubicBezTo>
                    <a:pt x="387976" y="523208"/>
                    <a:pt x="381229" y="0"/>
                    <a:pt x="381229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" name="Google Shape;751;p18">
              <a:extLst>
                <a:ext uri="{FF2B5EF4-FFF2-40B4-BE49-F238E27FC236}">
                  <a16:creationId xmlns:a16="http://schemas.microsoft.com/office/drawing/2014/main" id="{E76A6851-94AD-4CC5-8A47-E37081FB9536}"/>
                </a:ext>
              </a:extLst>
            </p:cNvPr>
            <p:cNvSpPr/>
            <p:nvPr/>
          </p:nvSpPr>
          <p:spPr>
            <a:xfrm>
              <a:off x="2382705" y="1314450"/>
              <a:ext cx="248692" cy="242377"/>
            </a:xfrm>
            <a:custGeom>
              <a:avLst/>
              <a:gdLst/>
              <a:ahLst/>
              <a:cxnLst/>
              <a:rect l="l" t="t" r="r" b="b"/>
              <a:pathLst>
                <a:path w="248692" h="242377" extrusionOk="0">
                  <a:moveTo>
                    <a:pt x="50881" y="0"/>
                  </a:moveTo>
                  <a:cubicBezTo>
                    <a:pt x="50881" y="0"/>
                    <a:pt x="55538" y="89440"/>
                    <a:pt x="53542" y="97346"/>
                  </a:cubicBezTo>
                  <a:cubicBezTo>
                    <a:pt x="51546" y="105251"/>
                    <a:pt x="12486" y="131540"/>
                    <a:pt x="1176" y="140970"/>
                  </a:cubicBezTo>
                  <a:cubicBezTo>
                    <a:pt x="-10133" y="150400"/>
                    <a:pt x="62951" y="222599"/>
                    <a:pt x="98400" y="238887"/>
                  </a:cubicBezTo>
                  <a:cubicBezTo>
                    <a:pt x="133849" y="255175"/>
                    <a:pt x="246564" y="212217"/>
                    <a:pt x="248560" y="156782"/>
                  </a:cubicBezTo>
                  <a:cubicBezTo>
                    <a:pt x="250556" y="101346"/>
                    <a:pt x="229552" y="54769"/>
                    <a:pt x="211970" y="52006"/>
                  </a:cubicBezTo>
                  <a:cubicBezTo>
                    <a:pt x="194388" y="49244"/>
                    <a:pt x="50881" y="0"/>
                    <a:pt x="50881" y="0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" name="Google Shape;752;p18">
              <a:extLst>
                <a:ext uri="{FF2B5EF4-FFF2-40B4-BE49-F238E27FC236}">
                  <a16:creationId xmlns:a16="http://schemas.microsoft.com/office/drawing/2014/main" id="{BEDB526A-46B2-4EAA-B1FF-FFBEC5EB4C59}"/>
                </a:ext>
              </a:extLst>
            </p:cNvPr>
            <p:cNvSpPr/>
            <p:nvPr/>
          </p:nvSpPr>
          <p:spPr>
            <a:xfrm>
              <a:off x="2671394" y="1371981"/>
              <a:ext cx="353519" cy="695039"/>
            </a:xfrm>
            <a:custGeom>
              <a:avLst/>
              <a:gdLst/>
              <a:ahLst/>
              <a:cxnLst/>
              <a:rect l="l" t="t" r="r" b="b"/>
              <a:pathLst>
                <a:path w="353519" h="695039" extrusionOk="0">
                  <a:moveTo>
                    <a:pt x="6725" y="108394"/>
                  </a:moveTo>
                  <a:cubicBezTo>
                    <a:pt x="11952" y="68961"/>
                    <a:pt x="-13993" y="31432"/>
                    <a:pt x="11192" y="0"/>
                  </a:cubicBezTo>
                  <a:cubicBezTo>
                    <a:pt x="99292" y="86582"/>
                    <a:pt x="88077" y="315754"/>
                    <a:pt x="108130" y="462344"/>
                  </a:cubicBezTo>
                  <a:cubicBezTo>
                    <a:pt x="173516" y="530924"/>
                    <a:pt x="305049" y="598456"/>
                    <a:pt x="342114" y="614744"/>
                  </a:cubicBezTo>
                  <a:cubicBezTo>
                    <a:pt x="348861" y="617791"/>
                    <a:pt x="354659" y="621030"/>
                    <a:pt x="353328" y="628364"/>
                  </a:cubicBezTo>
                  <a:cubicBezTo>
                    <a:pt x="348006" y="656939"/>
                    <a:pt x="339738" y="667798"/>
                    <a:pt x="322726" y="695039"/>
                  </a:cubicBezTo>
                  <a:cubicBezTo>
                    <a:pt x="235671" y="657415"/>
                    <a:pt x="172946" y="635794"/>
                    <a:pt x="64223" y="532257"/>
                  </a:cubicBezTo>
                  <a:cubicBezTo>
                    <a:pt x="53909" y="521094"/>
                    <a:pt x="44680" y="508978"/>
                    <a:pt x="36662" y="496062"/>
                  </a:cubicBezTo>
                  <a:cubicBezTo>
                    <a:pt x="5584" y="403479"/>
                    <a:pt x="-2209" y="176498"/>
                    <a:pt x="6725" y="108394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" name="Google Shape;753;p18">
              <a:extLst>
                <a:ext uri="{FF2B5EF4-FFF2-40B4-BE49-F238E27FC236}">
                  <a16:creationId xmlns:a16="http://schemas.microsoft.com/office/drawing/2014/main" id="{4CAF9DCA-0154-4590-AFFC-C248365AE5B8}"/>
                </a:ext>
              </a:extLst>
            </p:cNvPr>
            <p:cNvSpPr/>
            <p:nvPr/>
          </p:nvSpPr>
          <p:spPr>
            <a:xfrm>
              <a:off x="2315965" y="1348763"/>
              <a:ext cx="403432" cy="814679"/>
            </a:xfrm>
            <a:custGeom>
              <a:avLst/>
              <a:gdLst/>
              <a:ahLst/>
              <a:cxnLst/>
              <a:rect l="l" t="t" r="r" b="b"/>
              <a:pathLst>
                <a:path w="403432" h="814679" extrusionOk="0">
                  <a:moveTo>
                    <a:pt x="107642" y="78462"/>
                  </a:moveTo>
                  <a:cubicBezTo>
                    <a:pt x="107642" y="78462"/>
                    <a:pt x="172458" y="175236"/>
                    <a:pt x="262839" y="184761"/>
                  </a:cubicBezTo>
                  <a:cubicBezTo>
                    <a:pt x="291351" y="156186"/>
                    <a:pt x="293917" y="56364"/>
                    <a:pt x="254476" y="24360"/>
                  </a:cubicBezTo>
                  <a:cubicBezTo>
                    <a:pt x="254476" y="24360"/>
                    <a:pt x="290780" y="-4977"/>
                    <a:pt x="315585" y="738"/>
                  </a:cubicBezTo>
                  <a:cubicBezTo>
                    <a:pt x="342222" y="16921"/>
                    <a:pt x="362057" y="42286"/>
                    <a:pt x="371373" y="72081"/>
                  </a:cubicBezTo>
                  <a:cubicBezTo>
                    <a:pt x="394367" y="138651"/>
                    <a:pt x="405154" y="208831"/>
                    <a:pt x="403210" y="279249"/>
                  </a:cubicBezTo>
                  <a:cubicBezTo>
                    <a:pt x="401690" y="374499"/>
                    <a:pt x="403210" y="664250"/>
                    <a:pt x="403210" y="664250"/>
                  </a:cubicBezTo>
                  <a:cubicBezTo>
                    <a:pt x="403210" y="664250"/>
                    <a:pt x="390570" y="725591"/>
                    <a:pt x="308838" y="771216"/>
                  </a:cubicBezTo>
                  <a:cubicBezTo>
                    <a:pt x="227105" y="816840"/>
                    <a:pt x="166281" y="821317"/>
                    <a:pt x="110874" y="808363"/>
                  </a:cubicBezTo>
                  <a:cubicBezTo>
                    <a:pt x="65065" y="797695"/>
                    <a:pt x="27240" y="781503"/>
                    <a:pt x="11559" y="748260"/>
                  </a:cubicBezTo>
                  <a:cubicBezTo>
                    <a:pt x="15646" y="681585"/>
                    <a:pt x="45298" y="508040"/>
                    <a:pt x="34178" y="424410"/>
                  </a:cubicBezTo>
                  <a:cubicBezTo>
                    <a:pt x="23059" y="340781"/>
                    <a:pt x="5667" y="278202"/>
                    <a:pt x="915" y="210574"/>
                  </a:cubicBezTo>
                  <a:cubicBezTo>
                    <a:pt x="-3837" y="142947"/>
                    <a:pt x="9848" y="143899"/>
                    <a:pt x="43682" y="120182"/>
                  </a:cubicBezTo>
                  <a:cubicBezTo>
                    <a:pt x="63986" y="104770"/>
                    <a:pt x="85361" y="90826"/>
                    <a:pt x="107642" y="78462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" name="Google Shape;754;p18">
              <a:extLst>
                <a:ext uri="{FF2B5EF4-FFF2-40B4-BE49-F238E27FC236}">
                  <a16:creationId xmlns:a16="http://schemas.microsoft.com/office/drawing/2014/main" id="{1101EAE8-1DE7-43C2-BCA5-08DD41D68809}"/>
                </a:ext>
              </a:extLst>
            </p:cNvPr>
            <p:cNvSpPr/>
            <p:nvPr/>
          </p:nvSpPr>
          <p:spPr>
            <a:xfrm>
              <a:off x="2373403" y="1062776"/>
              <a:ext cx="268166" cy="327122"/>
            </a:xfrm>
            <a:custGeom>
              <a:avLst/>
              <a:gdLst/>
              <a:ahLst/>
              <a:cxnLst/>
              <a:rect l="l" t="t" r="r" b="b"/>
              <a:pathLst>
                <a:path w="268166" h="327122" extrusionOk="0">
                  <a:moveTo>
                    <a:pt x="262234" y="118324"/>
                  </a:moveTo>
                  <a:lnTo>
                    <a:pt x="262234" y="118324"/>
                  </a:lnTo>
                  <a:cubicBezTo>
                    <a:pt x="251590" y="48886"/>
                    <a:pt x="201695" y="-3787"/>
                    <a:pt x="130227" y="214"/>
                  </a:cubicBezTo>
                  <a:cubicBezTo>
                    <a:pt x="54204" y="4462"/>
                    <a:pt x="-3996" y="69658"/>
                    <a:pt x="215" y="145851"/>
                  </a:cubicBezTo>
                  <a:cubicBezTo>
                    <a:pt x="2583" y="188590"/>
                    <a:pt x="24775" y="227747"/>
                    <a:pt x="60184" y="251674"/>
                  </a:cubicBezTo>
                  <a:cubicBezTo>
                    <a:pt x="62685" y="262208"/>
                    <a:pt x="66417" y="272400"/>
                    <a:pt x="71303" y="282058"/>
                  </a:cubicBezTo>
                  <a:cubicBezTo>
                    <a:pt x="96488" y="311681"/>
                    <a:pt x="172994" y="329683"/>
                    <a:pt x="194852" y="326826"/>
                  </a:cubicBezTo>
                  <a:cubicBezTo>
                    <a:pt x="223364" y="322825"/>
                    <a:pt x="238380" y="311014"/>
                    <a:pt x="251875" y="280153"/>
                  </a:cubicBezTo>
                  <a:cubicBezTo>
                    <a:pt x="275540" y="225385"/>
                    <a:pt x="268127" y="152518"/>
                    <a:pt x="262234" y="118324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" name="Google Shape;755;p18">
              <a:extLst>
                <a:ext uri="{FF2B5EF4-FFF2-40B4-BE49-F238E27FC236}">
                  <a16:creationId xmlns:a16="http://schemas.microsoft.com/office/drawing/2014/main" id="{039C4E1E-B3C3-43F7-8E99-B4AA34CFC615}"/>
                </a:ext>
              </a:extLst>
            </p:cNvPr>
            <p:cNvSpPr/>
            <p:nvPr/>
          </p:nvSpPr>
          <p:spPr>
            <a:xfrm>
              <a:off x="2348404" y="1033740"/>
              <a:ext cx="282986" cy="280709"/>
            </a:xfrm>
            <a:custGeom>
              <a:avLst/>
              <a:gdLst/>
              <a:ahLst/>
              <a:cxnLst/>
              <a:rect l="l" t="t" r="r" b="b"/>
              <a:pathLst>
                <a:path w="282986" h="280709" extrusionOk="0">
                  <a:moveTo>
                    <a:pt x="85182" y="280709"/>
                  </a:moveTo>
                  <a:lnTo>
                    <a:pt x="85182" y="280709"/>
                  </a:lnTo>
                  <a:lnTo>
                    <a:pt x="91740" y="220130"/>
                  </a:lnTo>
                  <a:cubicBezTo>
                    <a:pt x="91740" y="220130"/>
                    <a:pt x="41940" y="91733"/>
                    <a:pt x="159122" y="116403"/>
                  </a:cubicBezTo>
                  <a:cubicBezTo>
                    <a:pt x="236102" y="132595"/>
                    <a:pt x="255490" y="139644"/>
                    <a:pt x="278964" y="87828"/>
                  </a:cubicBezTo>
                  <a:cubicBezTo>
                    <a:pt x="302439" y="36012"/>
                    <a:pt x="219661" y="-10565"/>
                    <a:pt x="121487" y="2103"/>
                  </a:cubicBezTo>
                  <a:cubicBezTo>
                    <a:pt x="51379" y="9511"/>
                    <a:pt x="-1397" y="69481"/>
                    <a:pt x="28" y="140120"/>
                  </a:cubicBezTo>
                  <a:cubicBezTo>
                    <a:pt x="2594" y="178506"/>
                    <a:pt x="12763" y="255658"/>
                    <a:pt x="85182" y="280709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" name="Google Shape;756;p18">
              <a:extLst>
                <a:ext uri="{FF2B5EF4-FFF2-40B4-BE49-F238E27FC236}">
                  <a16:creationId xmlns:a16="http://schemas.microsoft.com/office/drawing/2014/main" id="{A68EA6D6-3806-4803-8B50-2882EEE096BA}"/>
                </a:ext>
              </a:extLst>
            </p:cNvPr>
            <p:cNvSpPr/>
            <p:nvPr/>
          </p:nvSpPr>
          <p:spPr>
            <a:xfrm>
              <a:off x="2295460" y="1509426"/>
              <a:ext cx="362138" cy="623316"/>
            </a:xfrm>
            <a:custGeom>
              <a:avLst/>
              <a:gdLst/>
              <a:ahLst/>
              <a:cxnLst/>
              <a:rect l="l" t="t" r="r" b="b"/>
              <a:pathLst>
                <a:path w="362138" h="623316" extrusionOk="0">
                  <a:moveTo>
                    <a:pt x="1462" y="9525"/>
                  </a:moveTo>
                  <a:cubicBezTo>
                    <a:pt x="35295" y="0"/>
                    <a:pt x="9540" y="7906"/>
                    <a:pt x="35295" y="0"/>
                  </a:cubicBezTo>
                  <a:cubicBezTo>
                    <a:pt x="123395" y="86678"/>
                    <a:pt x="112466" y="235077"/>
                    <a:pt x="132424" y="381762"/>
                  </a:cubicBezTo>
                  <a:cubicBezTo>
                    <a:pt x="181083" y="462343"/>
                    <a:pt x="361655" y="571595"/>
                    <a:pt x="361655" y="571595"/>
                  </a:cubicBezTo>
                  <a:cubicBezTo>
                    <a:pt x="363936" y="587216"/>
                    <a:pt x="358424" y="591788"/>
                    <a:pt x="338941" y="623316"/>
                  </a:cubicBezTo>
                  <a:cubicBezTo>
                    <a:pt x="251982" y="585692"/>
                    <a:pt x="179088" y="553212"/>
                    <a:pt x="70364" y="449771"/>
                  </a:cubicBezTo>
                  <a:cubicBezTo>
                    <a:pt x="66088" y="445675"/>
                    <a:pt x="59815" y="444627"/>
                    <a:pt x="58009" y="439007"/>
                  </a:cubicBezTo>
                  <a:cubicBezTo>
                    <a:pt x="26932" y="345376"/>
                    <a:pt x="-7567" y="77724"/>
                    <a:pt x="1462" y="9525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" name="Google Shape;757;p18">
              <a:extLst>
                <a:ext uri="{FF2B5EF4-FFF2-40B4-BE49-F238E27FC236}">
                  <a16:creationId xmlns:a16="http://schemas.microsoft.com/office/drawing/2014/main" id="{2C780526-66E1-49BF-9E70-DD6FD8BC5AD9}"/>
                </a:ext>
              </a:extLst>
            </p:cNvPr>
            <p:cNvSpPr/>
            <p:nvPr/>
          </p:nvSpPr>
          <p:spPr>
            <a:xfrm>
              <a:off x="2681160" y="1699641"/>
              <a:ext cx="419212" cy="565118"/>
            </a:xfrm>
            <a:custGeom>
              <a:avLst/>
              <a:gdLst/>
              <a:ahLst/>
              <a:cxnLst/>
              <a:rect l="l" t="t" r="r" b="b"/>
              <a:pathLst>
                <a:path w="419212" h="565118" extrusionOk="0">
                  <a:moveTo>
                    <a:pt x="419212" y="0"/>
                  </a:moveTo>
                  <a:lnTo>
                    <a:pt x="287965" y="449771"/>
                  </a:lnTo>
                  <a:lnTo>
                    <a:pt x="0" y="565118"/>
                  </a:lnTo>
                  <a:lnTo>
                    <a:pt x="105017" y="126968"/>
                  </a:lnTo>
                  <a:lnTo>
                    <a:pt x="419212" y="0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" name="Google Shape;758;p18">
              <a:extLst>
                <a:ext uri="{FF2B5EF4-FFF2-40B4-BE49-F238E27FC236}">
                  <a16:creationId xmlns:a16="http://schemas.microsoft.com/office/drawing/2014/main" id="{EB10C066-0FA7-4D7C-A659-1FBD2C979CB1}"/>
                </a:ext>
              </a:extLst>
            </p:cNvPr>
            <p:cNvSpPr/>
            <p:nvPr/>
          </p:nvSpPr>
          <p:spPr>
            <a:xfrm>
              <a:off x="2608827" y="2053875"/>
              <a:ext cx="212446" cy="104783"/>
            </a:xfrm>
            <a:custGeom>
              <a:avLst/>
              <a:gdLst/>
              <a:ahLst/>
              <a:cxnLst/>
              <a:rect l="l" t="t" r="r" b="b"/>
              <a:pathLst>
                <a:path w="212446" h="104783" extrusionOk="0">
                  <a:moveTo>
                    <a:pt x="2861" y="30194"/>
                  </a:moveTo>
                  <a:cubicBezTo>
                    <a:pt x="7137" y="14859"/>
                    <a:pt x="18257" y="18669"/>
                    <a:pt x="30707" y="22479"/>
                  </a:cubicBezTo>
                  <a:cubicBezTo>
                    <a:pt x="44209" y="27956"/>
                    <a:pt x="59041" y="29251"/>
                    <a:pt x="73284" y="26194"/>
                  </a:cubicBezTo>
                  <a:cubicBezTo>
                    <a:pt x="85164" y="22479"/>
                    <a:pt x="93717" y="12287"/>
                    <a:pt x="103791" y="5525"/>
                  </a:cubicBezTo>
                  <a:cubicBezTo>
                    <a:pt x="109552" y="2086"/>
                    <a:pt x="116096" y="181"/>
                    <a:pt x="122799" y="0"/>
                  </a:cubicBezTo>
                  <a:cubicBezTo>
                    <a:pt x="122228" y="3905"/>
                    <a:pt x="116241" y="26765"/>
                    <a:pt x="116241" y="26765"/>
                  </a:cubicBezTo>
                  <a:cubicBezTo>
                    <a:pt x="116241" y="26765"/>
                    <a:pt x="179346" y="27432"/>
                    <a:pt x="185809" y="26098"/>
                  </a:cubicBezTo>
                  <a:cubicBezTo>
                    <a:pt x="191634" y="25308"/>
                    <a:pt x="196997" y="29394"/>
                    <a:pt x="197789" y="35233"/>
                  </a:cubicBezTo>
                  <a:cubicBezTo>
                    <a:pt x="198199" y="38252"/>
                    <a:pt x="197297" y="41310"/>
                    <a:pt x="195312" y="43625"/>
                  </a:cubicBezTo>
                  <a:lnTo>
                    <a:pt x="199589" y="42958"/>
                  </a:lnTo>
                  <a:cubicBezTo>
                    <a:pt x="212514" y="40100"/>
                    <a:pt x="218027" y="59912"/>
                    <a:pt x="205006" y="62865"/>
                  </a:cubicBezTo>
                  <a:cubicBezTo>
                    <a:pt x="201585" y="63627"/>
                    <a:pt x="198069" y="64008"/>
                    <a:pt x="194457" y="64484"/>
                  </a:cubicBezTo>
                  <a:cubicBezTo>
                    <a:pt x="202915" y="67723"/>
                    <a:pt x="205006" y="81725"/>
                    <a:pt x="194457" y="83534"/>
                  </a:cubicBezTo>
                  <a:lnTo>
                    <a:pt x="191226" y="84106"/>
                  </a:lnTo>
                  <a:cubicBezTo>
                    <a:pt x="189741" y="84668"/>
                    <a:pt x="188151" y="84896"/>
                    <a:pt x="186569" y="84772"/>
                  </a:cubicBezTo>
                  <a:lnTo>
                    <a:pt x="184573" y="84772"/>
                  </a:lnTo>
                  <a:cubicBezTo>
                    <a:pt x="185790" y="90916"/>
                    <a:pt x="181809" y="96879"/>
                    <a:pt x="175683" y="98098"/>
                  </a:cubicBezTo>
                  <a:cubicBezTo>
                    <a:pt x="175480" y="98136"/>
                    <a:pt x="175275" y="98174"/>
                    <a:pt x="175069" y="98203"/>
                  </a:cubicBezTo>
                  <a:cubicBezTo>
                    <a:pt x="144277" y="102298"/>
                    <a:pt x="99039" y="114586"/>
                    <a:pt x="71098" y="89154"/>
                  </a:cubicBezTo>
                  <a:cubicBezTo>
                    <a:pt x="51763" y="87239"/>
                    <a:pt x="32878" y="82124"/>
                    <a:pt x="15216" y="74009"/>
                  </a:cubicBezTo>
                  <a:cubicBezTo>
                    <a:pt x="-1796" y="65913"/>
                    <a:pt x="-2271" y="48577"/>
                    <a:pt x="2861" y="30194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" name="Google Shape;759;p18">
              <a:extLst>
                <a:ext uri="{FF2B5EF4-FFF2-40B4-BE49-F238E27FC236}">
                  <a16:creationId xmlns:a16="http://schemas.microsoft.com/office/drawing/2014/main" id="{0938A38C-CEC0-43B9-80DF-CC459798CB64}"/>
                </a:ext>
              </a:extLst>
            </p:cNvPr>
            <p:cNvSpPr/>
            <p:nvPr/>
          </p:nvSpPr>
          <p:spPr>
            <a:xfrm>
              <a:off x="2916099" y="1987646"/>
              <a:ext cx="131568" cy="109091"/>
            </a:xfrm>
            <a:custGeom>
              <a:avLst/>
              <a:gdLst/>
              <a:ahLst/>
              <a:cxnLst/>
              <a:rect l="l" t="t" r="r" b="b"/>
              <a:pathLst>
                <a:path w="131568" h="109091" extrusionOk="0">
                  <a:moveTo>
                    <a:pt x="10639" y="59657"/>
                  </a:moveTo>
                  <a:lnTo>
                    <a:pt x="14916" y="59657"/>
                  </a:lnTo>
                  <a:cubicBezTo>
                    <a:pt x="10289" y="56028"/>
                    <a:pt x="9476" y="49322"/>
                    <a:pt x="13102" y="44683"/>
                  </a:cubicBezTo>
                  <a:cubicBezTo>
                    <a:pt x="14995" y="42255"/>
                    <a:pt x="17838" y="40778"/>
                    <a:pt x="20903" y="40607"/>
                  </a:cubicBezTo>
                  <a:cubicBezTo>
                    <a:pt x="27556" y="40607"/>
                    <a:pt x="92467" y="26986"/>
                    <a:pt x="92467" y="26986"/>
                  </a:cubicBezTo>
                  <a:lnTo>
                    <a:pt x="100260" y="221"/>
                  </a:lnTo>
                  <a:cubicBezTo>
                    <a:pt x="100260" y="-1303"/>
                    <a:pt x="111569" y="5555"/>
                    <a:pt x="111950" y="5840"/>
                  </a:cubicBezTo>
                  <a:cubicBezTo>
                    <a:pt x="123082" y="13146"/>
                    <a:pt x="130288" y="25138"/>
                    <a:pt x="131527" y="38416"/>
                  </a:cubicBezTo>
                  <a:cubicBezTo>
                    <a:pt x="132163" y="57028"/>
                    <a:pt x="125315" y="75116"/>
                    <a:pt x="112520" y="88613"/>
                  </a:cubicBezTo>
                  <a:cubicBezTo>
                    <a:pt x="100854" y="100414"/>
                    <a:pt x="85087" y="107244"/>
                    <a:pt x="68517" y="107663"/>
                  </a:cubicBezTo>
                  <a:cubicBezTo>
                    <a:pt x="60629" y="108139"/>
                    <a:pt x="53026" y="108520"/>
                    <a:pt x="46279" y="109092"/>
                  </a:cubicBezTo>
                  <a:cubicBezTo>
                    <a:pt x="40033" y="109092"/>
                    <a:pt x="34969" y="104015"/>
                    <a:pt x="34969" y="97757"/>
                  </a:cubicBezTo>
                  <a:cubicBezTo>
                    <a:pt x="34969" y="97728"/>
                    <a:pt x="34969" y="97690"/>
                    <a:pt x="34969" y="97661"/>
                  </a:cubicBezTo>
                  <a:lnTo>
                    <a:pt x="32973" y="97661"/>
                  </a:lnTo>
                  <a:cubicBezTo>
                    <a:pt x="31442" y="98023"/>
                    <a:pt x="29847" y="98023"/>
                    <a:pt x="28316" y="97661"/>
                  </a:cubicBezTo>
                  <a:lnTo>
                    <a:pt x="24990" y="97661"/>
                  </a:lnTo>
                  <a:cubicBezTo>
                    <a:pt x="13966" y="97661"/>
                    <a:pt x="13110" y="83946"/>
                    <a:pt x="20618" y="78611"/>
                  </a:cubicBezTo>
                  <a:cubicBezTo>
                    <a:pt x="17102" y="78611"/>
                    <a:pt x="13490" y="79278"/>
                    <a:pt x="9974" y="79278"/>
                  </a:cubicBezTo>
                  <a:cubicBezTo>
                    <a:pt x="-3806" y="80135"/>
                    <a:pt x="-3046" y="59561"/>
                    <a:pt x="10639" y="59657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" name="Google Shape;760;p18">
              <a:extLst>
                <a:ext uri="{FF2B5EF4-FFF2-40B4-BE49-F238E27FC236}">
                  <a16:creationId xmlns:a16="http://schemas.microsoft.com/office/drawing/2014/main" id="{65DF519E-BC92-432F-8801-34643057F20C}"/>
                </a:ext>
              </a:extLst>
            </p:cNvPr>
            <p:cNvSpPr/>
            <p:nvPr/>
          </p:nvSpPr>
          <p:spPr>
            <a:xfrm>
              <a:off x="2631550" y="1349025"/>
              <a:ext cx="130391" cy="190023"/>
            </a:xfrm>
            <a:custGeom>
              <a:avLst/>
              <a:gdLst/>
              <a:ahLst/>
              <a:cxnLst/>
              <a:rect l="l" t="t" r="r" b="b"/>
              <a:pathLst>
                <a:path w="130391" h="190023" extrusionOk="0">
                  <a:moveTo>
                    <a:pt x="83348" y="190024"/>
                  </a:moveTo>
                  <a:cubicBezTo>
                    <a:pt x="83348" y="190024"/>
                    <a:pt x="116611" y="188309"/>
                    <a:pt x="130392" y="168878"/>
                  </a:cubicBezTo>
                  <a:cubicBezTo>
                    <a:pt x="127826" y="135636"/>
                    <a:pt x="85344" y="9430"/>
                    <a:pt x="0" y="0"/>
                  </a:cubicBezTo>
                  <a:cubicBezTo>
                    <a:pt x="23264" y="16335"/>
                    <a:pt x="41713" y="38643"/>
                    <a:pt x="53411" y="64580"/>
                  </a:cubicBezTo>
                  <a:cubicBezTo>
                    <a:pt x="68902" y="102584"/>
                    <a:pt x="83348" y="190024"/>
                    <a:pt x="83348" y="190024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" name="Google Shape;761;p18">
              <a:extLst>
                <a:ext uri="{FF2B5EF4-FFF2-40B4-BE49-F238E27FC236}">
                  <a16:creationId xmlns:a16="http://schemas.microsoft.com/office/drawing/2014/main" id="{F3791FB7-69B2-422E-B543-CE12E7A95A1F}"/>
                </a:ext>
              </a:extLst>
            </p:cNvPr>
            <p:cNvSpPr/>
            <p:nvPr/>
          </p:nvSpPr>
          <p:spPr>
            <a:xfrm>
              <a:off x="2269458" y="1478036"/>
              <a:ext cx="157611" cy="236452"/>
            </a:xfrm>
            <a:custGeom>
              <a:avLst/>
              <a:gdLst/>
              <a:ahLst/>
              <a:cxnLst/>
              <a:rect l="l" t="t" r="r" b="b"/>
              <a:pathLst>
                <a:path w="157611" h="236452" extrusionOk="0">
                  <a:moveTo>
                    <a:pt x="12067" y="227795"/>
                  </a:moveTo>
                  <a:cubicBezTo>
                    <a:pt x="12067" y="227795"/>
                    <a:pt x="97031" y="257132"/>
                    <a:pt x="156905" y="207793"/>
                  </a:cubicBezTo>
                  <a:cubicBezTo>
                    <a:pt x="163463" y="196458"/>
                    <a:pt x="122216" y="51583"/>
                    <a:pt x="122216" y="51583"/>
                  </a:cubicBezTo>
                  <a:cubicBezTo>
                    <a:pt x="122216" y="51583"/>
                    <a:pt x="86577" y="-22522"/>
                    <a:pt x="30790" y="6911"/>
                  </a:cubicBezTo>
                  <a:cubicBezTo>
                    <a:pt x="-24997" y="36343"/>
                    <a:pt x="12067" y="227795"/>
                    <a:pt x="12067" y="22779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" name="Google Shape;762;p18">
              <a:extLst>
                <a:ext uri="{FF2B5EF4-FFF2-40B4-BE49-F238E27FC236}">
                  <a16:creationId xmlns:a16="http://schemas.microsoft.com/office/drawing/2014/main" id="{F6CE82FB-2F9E-4A82-8FE1-A35ECAB06016}"/>
                </a:ext>
              </a:extLst>
            </p:cNvPr>
            <p:cNvSpPr/>
            <p:nvPr/>
          </p:nvSpPr>
          <p:spPr>
            <a:xfrm>
              <a:off x="3098756" y="3983831"/>
              <a:ext cx="98079" cy="56769"/>
            </a:xfrm>
            <a:custGeom>
              <a:avLst/>
              <a:gdLst/>
              <a:ahLst/>
              <a:cxnLst/>
              <a:rect l="l" t="t" r="r" b="b"/>
              <a:pathLst>
                <a:path w="98079" h="56769" extrusionOk="0">
                  <a:moveTo>
                    <a:pt x="98079" y="28385"/>
                  </a:moveTo>
                  <a:cubicBezTo>
                    <a:pt x="98079" y="44061"/>
                    <a:pt x="76123" y="56769"/>
                    <a:pt x="49040" y="56769"/>
                  </a:cubicBezTo>
                  <a:cubicBezTo>
                    <a:pt x="21956" y="56769"/>
                    <a:pt x="0" y="44061"/>
                    <a:pt x="0" y="28385"/>
                  </a:cubicBezTo>
                  <a:cubicBezTo>
                    <a:pt x="0" y="12708"/>
                    <a:pt x="21956" y="0"/>
                    <a:pt x="49040" y="0"/>
                  </a:cubicBezTo>
                  <a:cubicBezTo>
                    <a:pt x="76123" y="0"/>
                    <a:pt x="98079" y="12708"/>
                    <a:pt x="98079" y="28385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" name="Google Shape;763;p18">
              <a:extLst>
                <a:ext uri="{FF2B5EF4-FFF2-40B4-BE49-F238E27FC236}">
                  <a16:creationId xmlns:a16="http://schemas.microsoft.com/office/drawing/2014/main" id="{E166219D-5D30-4FFD-9493-847348013327}"/>
                </a:ext>
              </a:extLst>
            </p:cNvPr>
            <p:cNvSpPr/>
            <p:nvPr/>
          </p:nvSpPr>
          <p:spPr>
            <a:xfrm>
              <a:off x="4017202" y="4508754"/>
              <a:ext cx="98079" cy="56769"/>
            </a:xfrm>
            <a:custGeom>
              <a:avLst/>
              <a:gdLst/>
              <a:ahLst/>
              <a:cxnLst/>
              <a:rect l="l" t="t" r="r" b="b"/>
              <a:pathLst>
                <a:path w="98079" h="56769" extrusionOk="0">
                  <a:moveTo>
                    <a:pt x="98079" y="28384"/>
                  </a:moveTo>
                  <a:cubicBezTo>
                    <a:pt x="98079" y="44061"/>
                    <a:pt x="76123" y="56769"/>
                    <a:pt x="49040" y="56769"/>
                  </a:cubicBezTo>
                  <a:cubicBezTo>
                    <a:pt x="21956" y="56769"/>
                    <a:pt x="0" y="44061"/>
                    <a:pt x="0" y="28384"/>
                  </a:cubicBezTo>
                  <a:cubicBezTo>
                    <a:pt x="0" y="12708"/>
                    <a:pt x="21956" y="0"/>
                    <a:pt x="49040" y="0"/>
                  </a:cubicBezTo>
                  <a:cubicBezTo>
                    <a:pt x="76123" y="0"/>
                    <a:pt x="98079" y="12708"/>
                    <a:pt x="98079" y="28384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" name="Google Shape;764;p18">
              <a:extLst>
                <a:ext uri="{FF2B5EF4-FFF2-40B4-BE49-F238E27FC236}">
                  <a16:creationId xmlns:a16="http://schemas.microsoft.com/office/drawing/2014/main" id="{613DFB16-086A-4825-A2B0-19DD9A93BFD2}"/>
                </a:ext>
              </a:extLst>
            </p:cNvPr>
            <p:cNvSpPr/>
            <p:nvPr/>
          </p:nvSpPr>
          <p:spPr>
            <a:xfrm>
              <a:off x="5609182" y="3535680"/>
              <a:ext cx="98079" cy="56769"/>
            </a:xfrm>
            <a:custGeom>
              <a:avLst/>
              <a:gdLst/>
              <a:ahLst/>
              <a:cxnLst/>
              <a:rect l="l" t="t" r="r" b="b"/>
              <a:pathLst>
                <a:path w="98079" h="56769" extrusionOk="0">
                  <a:moveTo>
                    <a:pt x="98079" y="28384"/>
                  </a:moveTo>
                  <a:cubicBezTo>
                    <a:pt x="98079" y="44061"/>
                    <a:pt x="76123" y="56769"/>
                    <a:pt x="49040" y="56769"/>
                  </a:cubicBezTo>
                  <a:cubicBezTo>
                    <a:pt x="21956" y="56769"/>
                    <a:pt x="0" y="44061"/>
                    <a:pt x="0" y="28384"/>
                  </a:cubicBezTo>
                  <a:cubicBezTo>
                    <a:pt x="0" y="12708"/>
                    <a:pt x="21956" y="0"/>
                    <a:pt x="49040" y="0"/>
                  </a:cubicBezTo>
                  <a:cubicBezTo>
                    <a:pt x="76123" y="0"/>
                    <a:pt x="98079" y="12708"/>
                    <a:pt x="98079" y="28384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" name="Google Shape;765;p18">
              <a:extLst>
                <a:ext uri="{FF2B5EF4-FFF2-40B4-BE49-F238E27FC236}">
                  <a16:creationId xmlns:a16="http://schemas.microsoft.com/office/drawing/2014/main" id="{25DBAAF4-45CC-41B5-A05D-8B632AD745C6}"/>
                </a:ext>
              </a:extLst>
            </p:cNvPr>
            <p:cNvSpPr/>
            <p:nvPr/>
          </p:nvSpPr>
          <p:spPr>
            <a:xfrm>
              <a:off x="3115863" y="3050952"/>
              <a:ext cx="67191" cy="975240"/>
            </a:xfrm>
            <a:custGeom>
              <a:avLst/>
              <a:gdLst/>
              <a:ahLst/>
              <a:cxnLst/>
              <a:rect l="l" t="t" r="r" b="b"/>
              <a:pathLst>
                <a:path w="67191" h="975240" extrusionOk="0">
                  <a:moveTo>
                    <a:pt x="0" y="0"/>
                  </a:moveTo>
                  <a:lnTo>
                    <a:pt x="0" y="955548"/>
                  </a:lnTo>
                  <a:cubicBezTo>
                    <a:pt x="447" y="961558"/>
                    <a:pt x="4068" y="966864"/>
                    <a:pt x="9504" y="969455"/>
                  </a:cubicBezTo>
                  <a:cubicBezTo>
                    <a:pt x="24643" y="977170"/>
                    <a:pt x="42549" y="977170"/>
                    <a:pt x="57688" y="969455"/>
                  </a:cubicBezTo>
                  <a:cubicBezTo>
                    <a:pt x="63105" y="966854"/>
                    <a:pt x="66726" y="961549"/>
                    <a:pt x="67192" y="955548"/>
                  </a:cubicBezTo>
                  <a:lnTo>
                    <a:pt x="67192" y="955548"/>
                  </a:lnTo>
                  <a:lnTo>
                    <a:pt x="67192" y="0"/>
                  </a:lnTo>
                  <a:close/>
                </a:path>
              </a:pathLst>
            </a:custGeom>
            <a:solidFill>
              <a:srgbClr val="C1C4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" name="Google Shape;766;p18">
              <a:extLst>
                <a:ext uri="{FF2B5EF4-FFF2-40B4-BE49-F238E27FC236}">
                  <a16:creationId xmlns:a16="http://schemas.microsoft.com/office/drawing/2014/main" id="{DD5C3F95-BB89-47AD-BC15-551BC593842D}"/>
                </a:ext>
              </a:extLst>
            </p:cNvPr>
            <p:cNvSpPr/>
            <p:nvPr/>
          </p:nvSpPr>
          <p:spPr>
            <a:xfrm>
              <a:off x="4036495" y="3422808"/>
              <a:ext cx="59588" cy="1128783"/>
            </a:xfrm>
            <a:custGeom>
              <a:avLst/>
              <a:gdLst/>
              <a:ahLst/>
              <a:cxnLst/>
              <a:rect l="l" t="t" r="r" b="b"/>
              <a:pathLst>
                <a:path w="59588" h="1128783" extrusionOk="0">
                  <a:moveTo>
                    <a:pt x="0" y="0"/>
                  </a:moveTo>
                  <a:lnTo>
                    <a:pt x="0" y="1108996"/>
                  </a:lnTo>
                  <a:cubicBezTo>
                    <a:pt x="333" y="1114835"/>
                    <a:pt x="3583" y="1120102"/>
                    <a:pt x="8648" y="1122998"/>
                  </a:cubicBezTo>
                  <a:cubicBezTo>
                    <a:pt x="21659" y="1130713"/>
                    <a:pt x="37834" y="1130713"/>
                    <a:pt x="50845" y="1122998"/>
                  </a:cubicBezTo>
                  <a:cubicBezTo>
                    <a:pt x="55930" y="1120111"/>
                    <a:pt x="59218" y="1114844"/>
                    <a:pt x="59589" y="1108996"/>
                  </a:cubicBezTo>
                  <a:lnTo>
                    <a:pt x="59589" y="1108996"/>
                  </a:lnTo>
                  <a:lnTo>
                    <a:pt x="59589" y="0"/>
                  </a:lnTo>
                  <a:close/>
                </a:path>
              </a:pathLst>
            </a:custGeom>
            <a:solidFill>
              <a:srgbClr val="C1C4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" name="Google Shape;767;p18">
              <a:extLst>
                <a:ext uri="{FF2B5EF4-FFF2-40B4-BE49-F238E27FC236}">
                  <a16:creationId xmlns:a16="http://schemas.microsoft.com/office/drawing/2014/main" id="{41A55B3E-58D6-464D-A681-53D8AB85438F}"/>
                </a:ext>
              </a:extLst>
            </p:cNvPr>
            <p:cNvSpPr/>
            <p:nvPr/>
          </p:nvSpPr>
          <p:spPr>
            <a:xfrm>
              <a:off x="5628379" y="2652522"/>
              <a:ext cx="59588" cy="923996"/>
            </a:xfrm>
            <a:custGeom>
              <a:avLst/>
              <a:gdLst/>
              <a:ahLst/>
              <a:cxnLst/>
              <a:rect l="l" t="t" r="r" b="b"/>
              <a:pathLst>
                <a:path w="59588" h="923996" extrusionOk="0">
                  <a:moveTo>
                    <a:pt x="0" y="0"/>
                  </a:moveTo>
                  <a:lnTo>
                    <a:pt x="0" y="904304"/>
                  </a:lnTo>
                  <a:cubicBezTo>
                    <a:pt x="342" y="910133"/>
                    <a:pt x="3649" y="915381"/>
                    <a:pt x="8744" y="918210"/>
                  </a:cubicBezTo>
                  <a:cubicBezTo>
                    <a:pt x="21716" y="925925"/>
                    <a:pt x="37873" y="925925"/>
                    <a:pt x="50845" y="918210"/>
                  </a:cubicBezTo>
                  <a:cubicBezTo>
                    <a:pt x="55939" y="915381"/>
                    <a:pt x="59247" y="910133"/>
                    <a:pt x="59589" y="904304"/>
                  </a:cubicBezTo>
                  <a:lnTo>
                    <a:pt x="59589" y="904304"/>
                  </a:lnTo>
                  <a:lnTo>
                    <a:pt x="59589" y="0"/>
                  </a:lnTo>
                  <a:close/>
                </a:path>
              </a:pathLst>
            </a:custGeom>
            <a:solidFill>
              <a:srgbClr val="C1C4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" name="Google Shape;768;p18">
              <a:extLst>
                <a:ext uri="{FF2B5EF4-FFF2-40B4-BE49-F238E27FC236}">
                  <a16:creationId xmlns:a16="http://schemas.microsoft.com/office/drawing/2014/main" id="{88A0CEAF-7F38-48BD-BC8D-B5EDE5D3D5C7}"/>
                </a:ext>
              </a:extLst>
            </p:cNvPr>
            <p:cNvSpPr/>
            <p:nvPr/>
          </p:nvSpPr>
          <p:spPr>
            <a:xfrm>
              <a:off x="3056370" y="3054762"/>
              <a:ext cx="1009872" cy="652653"/>
            </a:xfrm>
            <a:custGeom>
              <a:avLst/>
              <a:gdLst/>
              <a:ahLst/>
              <a:cxnLst/>
              <a:rect l="l" t="t" r="r" b="b"/>
              <a:pathLst>
                <a:path w="1009872" h="652653" extrusionOk="0">
                  <a:moveTo>
                    <a:pt x="1009872" y="652653"/>
                  </a:moveTo>
                  <a:lnTo>
                    <a:pt x="0" y="68294"/>
                  </a:lnTo>
                  <a:lnTo>
                    <a:pt x="0" y="0"/>
                  </a:lnTo>
                  <a:lnTo>
                    <a:pt x="1009872" y="584454"/>
                  </a:lnTo>
                  <a:lnTo>
                    <a:pt x="1009872" y="652653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" name="Google Shape;769;p18">
              <a:extLst>
                <a:ext uri="{FF2B5EF4-FFF2-40B4-BE49-F238E27FC236}">
                  <a16:creationId xmlns:a16="http://schemas.microsoft.com/office/drawing/2014/main" id="{156FBACD-FD19-44A6-BC19-1EC8A9CC75D7}"/>
                </a:ext>
              </a:extLst>
            </p:cNvPr>
            <p:cNvSpPr/>
            <p:nvPr/>
          </p:nvSpPr>
          <p:spPr>
            <a:xfrm>
              <a:off x="3056084" y="2071592"/>
              <a:ext cx="2712855" cy="1569720"/>
            </a:xfrm>
            <a:custGeom>
              <a:avLst/>
              <a:gdLst/>
              <a:ahLst/>
              <a:cxnLst/>
              <a:rect l="l" t="t" r="r" b="b"/>
              <a:pathLst>
                <a:path w="2712855" h="1569720" extrusionOk="0">
                  <a:moveTo>
                    <a:pt x="2712856" y="584359"/>
                  </a:moveTo>
                  <a:lnTo>
                    <a:pt x="1009967" y="1569720"/>
                  </a:lnTo>
                  <a:lnTo>
                    <a:pt x="0" y="985361"/>
                  </a:lnTo>
                  <a:lnTo>
                    <a:pt x="1702889" y="0"/>
                  </a:lnTo>
                  <a:lnTo>
                    <a:pt x="2712856" y="58435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" name="Google Shape;770;p18">
              <a:extLst>
                <a:ext uri="{FF2B5EF4-FFF2-40B4-BE49-F238E27FC236}">
                  <a16:creationId xmlns:a16="http://schemas.microsoft.com/office/drawing/2014/main" id="{9495F0EE-90CF-480F-BBD9-18E6AE44E78C}"/>
                </a:ext>
              </a:extLst>
            </p:cNvPr>
            <p:cNvSpPr/>
            <p:nvPr/>
          </p:nvSpPr>
          <p:spPr>
            <a:xfrm>
              <a:off x="4066242" y="2653855"/>
              <a:ext cx="1702888" cy="1053560"/>
            </a:xfrm>
            <a:custGeom>
              <a:avLst/>
              <a:gdLst/>
              <a:ahLst/>
              <a:cxnLst/>
              <a:rect l="l" t="t" r="r" b="b"/>
              <a:pathLst>
                <a:path w="1702888" h="1053560" extrusionOk="0">
                  <a:moveTo>
                    <a:pt x="1702888" y="68199"/>
                  </a:moveTo>
                  <a:lnTo>
                    <a:pt x="0" y="1053560"/>
                  </a:lnTo>
                  <a:lnTo>
                    <a:pt x="0" y="985361"/>
                  </a:lnTo>
                  <a:lnTo>
                    <a:pt x="1702888" y="0"/>
                  </a:lnTo>
                  <a:lnTo>
                    <a:pt x="1702888" y="68199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" name="Google Shape;771;p18">
              <a:extLst>
                <a:ext uri="{FF2B5EF4-FFF2-40B4-BE49-F238E27FC236}">
                  <a16:creationId xmlns:a16="http://schemas.microsoft.com/office/drawing/2014/main" id="{328CF741-1965-409C-B9B7-3DBC94AEFE23}"/>
                </a:ext>
              </a:extLst>
            </p:cNvPr>
            <p:cNvSpPr/>
            <p:nvPr/>
          </p:nvSpPr>
          <p:spPr>
            <a:xfrm>
              <a:off x="4763535" y="2360390"/>
              <a:ext cx="519572" cy="326898"/>
            </a:xfrm>
            <a:custGeom>
              <a:avLst/>
              <a:gdLst/>
              <a:ahLst/>
              <a:cxnLst/>
              <a:rect l="l" t="t" r="r" b="b"/>
              <a:pathLst>
                <a:path w="519572" h="326898" extrusionOk="0">
                  <a:moveTo>
                    <a:pt x="519572" y="98965"/>
                  </a:moveTo>
                  <a:lnTo>
                    <a:pt x="248049" y="326898"/>
                  </a:lnTo>
                  <a:lnTo>
                    <a:pt x="0" y="227933"/>
                  </a:lnTo>
                  <a:lnTo>
                    <a:pt x="271523" y="0"/>
                  </a:lnTo>
                  <a:lnTo>
                    <a:pt x="519572" y="98965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" name="Google Shape;772;p18">
              <a:extLst>
                <a:ext uri="{FF2B5EF4-FFF2-40B4-BE49-F238E27FC236}">
                  <a16:creationId xmlns:a16="http://schemas.microsoft.com/office/drawing/2014/main" id="{0A2D0E82-F207-4725-9866-4914C7C98346}"/>
                </a:ext>
              </a:extLst>
            </p:cNvPr>
            <p:cNvSpPr/>
            <p:nvPr/>
          </p:nvSpPr>
          <p:spPr>
            <a:xfrm>
              <a:off x="4668877" y="2346674"/>
              <a:ext cx="551219" cy="318992"/>
            </a:xfrm>
            <a:custGeom>
              <a:avLst/>
              <a:gdLst/>
              <a:ahLst/>
              <a:cxnLst/>
              <a:rect l="l" t="t" r="r" b="b"/>
              <a:pathLst>
                <a:path w="551219" h="318992" extrusionOk="0">
                  <a:moveTo>
                    <a:pt x="551220" y="123254"/>
                  </a:moveTo>
                  <a:lnTo>
                    <a:pt x="212980" y="318992"/>
                  </a:lnTo>
                  <a:lnTo>
                    <a:pt x="0" y="195739"/>
                  </a:lnTo>
                  <a:lnTo>
                    <a:pt x="338240" y="0"/>
                  </a:lnTo>
                  <a:lnTo>
                    <a:pt x="551220" y="123254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" name="Google Shape;773;p18">
              <a:extLst>
                <a:ext uri="{FF2B5EF4-FFF2-40B4-BE49-F238E27FC236}">
                  <a16:creationId xmlns:a16="http://schemas.microsoft.com/office/drawing/2014/main" id="{703D05F3-DB64-4F44-9BB1-D0CD3C4662A9}"/>
                </a:ext>
              </a:extLst>
            </p:cNvPr>
            <p:cNvSpPr/>
            <p:nvPr/>
          </p:nvSpPr>
          <p:spPr>
            <a:xfrm>
              <a:off x="4743291" y="2531554"/>
              <a:ext cx="161184" cy="93249"/>
            </a:xfrm>
            <a:custGeom>
              <a:avLst/>
              <a:gdLst/>
              <a:ahLst/>
              <a:cxnLst/>
              <a:rect l="l" t="t" r="r" b="b"/>
              <a:pathLst>
                <a:path w="161184" h="93249" extrusionOk="0">
                  <a:moveTo>
                    <a:pt x="161184" y="81248"/>
                  </a:moveTo>
                  <a:lnTo>
                    <a:pt x="140466" y="93250"/>
                  </a:lnTo>
                  <a:lnTo>
                    <a:pt x="0" y="12001"/>
                  </a:lnTo>
                  <a:lnTo>
                    <a:pt x="20718" y="0"/>
                  </a:lnTo>
                  <a:lnTo>
                    <a:pt x="161184" y="81248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" name="Google Shape;774;p18">
              <a:extLst>
                <a:ext uri="{FF2B5EF4-FFF2-40B4-BE49-F238E27FC236}">
                  <a16:creationId xmlns:a16="http://schemas.microsoft.com/office/drawing/2014/main" id="{185633FC-8033-4984-BD4C-7FA98A16CD77}"/>
                </a:ext>
              </a:extLst>
            </p:cNvPr>
            <p:cNvSpPr/>
            <p:nvPr/>
          </p:nvSpPr>
          <p:spPr>
            <a:xfrm>
              <a:off x="4789955" y="2504598"/>
              <a:ext cx="161089" cy="93249"/>
            </a:xfrm>
            <a:custGeom>
              <a:avLst/>
              <a:gdLst/>
              <a:ahLst/>
              <a:cxnLst/>
              <a:rect l="l" t="t" r="r" b="b"/>
              <a:pathLst>
                <a:path w="161089" h="93249" extrusionOk="0">
                  <a:moveTo>
                    <a:pt x="161089" y="81248"/>
                  </a:moveTo>
                  <a:lnTo>
                    <a:pt x="140371" y="93250"/>
                  </a:lnTo>
                  <a:lnTo>
                    <a:pt x="0" y="12002"/>
                  </a:lnTo>
                  <a:lnTo>
                    <a:pt x="20718" y="0"/>
                  </a:lnTo>
                  <a:lnTo>
                    <a:pt x="161089" y="81248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" name="Google Shape;775;p18">
              <a:extLst>
                <a:ext uri="{FF2B5EF4-FFF2-40B4-BE49-F238E27FC236}">
                  <a16:creationId xmlns:a16="http://schemas.microsoft.com/office/drawing/2014/main" id="{1A149A0F-99EB-4305-9191-690963E67955}"/>
                </a:ext>
              </a:extLst>
            </p:cNvPr>
            <p:cNvSpPr/>
            <p:nvPr/>
          </p:nvSpPr>
          <p:spPr>
            <a:xfrm>
              <a:off x="4834813" y="2478690"/>
              <a:ext cx="161089" cy="93154"/>
            </a:xfrm>
            <a:custGeom>
              <a:avLst/>
              <a:gdLst/>
              <a:ahLst/>
              <a:cxnLst/>
              <a:rect l="l" t="t" r="r" b="b"/>
              <a:pathLst>
                <a:path w="161089" h="93154" extrusionOk="0">
                  <a:moveTo>
                    <a:pt x="161089" y="81248"/>
                  </a:moveTo>
                  <a:lnTo>
                    <a:pt x="140371" y="93154"/>
                  </a:lnTo>
                  <a:lnTo>
                    <a:pt x="0" y="12002"/>
                  </a:lnTo>
                  <a:lnTo>
                    <a:pt x="20718" y="0"/>
                  </a:lnTo>
                  <a:lnTo>
                    <a:pt x="161089" y="81248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" name="Google Shape;776;p18">
              <a:extLst>
                <a:ext uri="{FF2B5EF4-FFF2-40B4-BE49-F238E27FC236}">
                  <a16:creationId xmlns:a16="http://schemas.microsoft.com/office/drawing/2014/main" id="{4095E535-38D8-4FF9-BF18-1F24A7734039}"/>
                </a:ext>
              </a:extLst>
            </p:cNvPr>
            <p:cNvSpPr/>
            <p:nvPr/>
          </p:nvSpPr>
          <p:spPr>
            <a:xfrm>
              <a:off x="4998753" y="2451734"/>
              <a:ext cx="102450" cy="59245"/>
            </a:xfrm>
            <a:custGeom>
              <a:avLst/>
              <a:gdLst/>
              <a:ahLst/>
              <a:cxnLst/>
              <a:rect l="l" t="t" r="r" b="b"/>
              <a:pathLst>
                <a:path w="102450" h="59245" extrusionOk="0">
                  <a:moveTo>
                    <a:pt x="102451" y="47244"/>
                  </a:moveTo>
                  <a:lnTo>
                    <a:pt x="81733" y="59246"/>
                  </a:lnTo>
                  <a:lnTo>
                    <a:pt x="0" y="12002"/>
                  </a:lnTo>
                  <a:lnTo>
                    <a:pt x="20718" y="0"/>
                  </a:lnTo>
                  <a:lnTo>
                    <a:pt x="102451" y="47244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" name="Google Shape;777;p18">
              <a:extLst>
                <a:ext uri="{FF2B5EF4-FFF2-40B4-BE49-F238E27FC236}">
                  <a16:creationId xmlns:a16="http://schemas.microsoft.com/office/drawing/2014/main" id="{CE8F0BF1-6038-4F24-9F9D-1E68B6C10C46}"/>
                </a:ext>
              </a:extLst>
            </p:cNvPr>
            <p:cNvSpPr/>
            <p:nvPr/>
          </p:nvSpPr>
          <p:spPr>
            <a:xfrm>
              <a:off x="5043611" y="2425731"/>
              <a:ext cx="102450" cy="59245"/>
            </a:xfrm>
            <a:custGeom>
              <a:avLst/>
              <a:gdLst/>
              <a:ahLst/>
              <a:cxnLst/>
              <a:rect l="l" t="t" r="r" b="b"/>
              <a:pathLst>
                <a:path w="102450" h="59245" extrusionOk="0">
                  <a:moveTo>
                    <a:pt x="102451" y="47339"/>
                  </a:moveTo>
                  <a:lnTo>
                    <a:pt x="81733" y="59246"/>
                  </a:lnTo>
                  <a:lnTo>
                    <a:pt x="0" y="12001"/>
                  </a:lnTo>
                  <a:lnTo>
                    <a:pt x="20718" y="0"/>
                  </a:lnTo>
                  <a:lnTo>
                    <a:pt x="102451" y="4733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" name="Google Shape;778;p18">
              <a:extLst>
                <a:ext uri="{FF2B5EF4-FFF2-40B4-BE49-F238E27FC236}">
                  <a16:creationId xmlns:a16="http://schemas.microsoft.com/office/drawing/2014/main" id="{118D6C9E-2778-4D06-883A-A224DD8AF9F0}"/>
                </a:ext>
              </a:extLst>
            </p:cNvPr>
            <p:cNvSpPr/>
            <p:nvPr/>
          </p:nvSpPr>
          <p:spPr>
            <a:xfrm>
              <a:off x="4912649" y="2469832"/>
              <a:ext cx="307447" cy="180974"/>
            </a:xfrm>
            <a:custGeom>
              <a:avLst/>
              <a:gdLst/>
              <a:ahLst/>
              <a:cxnLst/>
              <a:rect l="l" t="t" r="r" b="b"/>
              <a:pathLst>
                <a:path w="307447" h="180974" extrusionOk="0">
                  <a:moveTo>
                    <a:pt x="7508" y="180975"/>
                  </a:moveTo>
                  <a:cubicBezTo>
                    <a:pt x="13115" y="178594"/>
                    <a:pt x="307448" y="0"/>
                    <a:pt x="307448" y="0"/>
                  </a:cubicBezTo>
                  <a:lnTo>
                    <a:pt x="0" y="178117"/>
                  </a:lnTo>
                  <a:close/>
                </a:path>
              </a:pathLst>
            </a:custGeom>
            <a:solidFill>
              <a:srgbClr val="D6D6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" name="Google Shape;779;p18">
              <a:extLst>
                <a:ext uri="{FF2B5EF4-FFF2-40B4-BE49-F238E27FC236}">
                  <a16:creationId xmlns:a16="http://schemas.microsoft.com/office/drawing/2014/main" id="{E7629A20-97A2-49FA-8E17-A42E9C5BF1C9}"/>
                </a:ext>
              </a:extLst>
            </p:cNvPr>
            <p:cNvSpPr/>
            <p:nvPr/>
          </p:nvSpPr>
          <p:spPr>
            <a:xfrm>
              <a:off x="4894497" y="2841212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9" y="85344"/>
                    <a:pt x="0" y="66239"/>
                    <a:pt x="0" y="42672"/>
                  </a:cubicBezTo>
                  <a:cubicBezTo>
                    <a:pt x="0" y="19105"/>
                    <a:pt x="33019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000000">
                <a:alpha val="2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" name="Google Shape;780;p18">
              <a:extLst>
                <a:ext uri="{FF2B5EF4-FFF2-40B4-BE49-F238E27FC236}">
                  <a16:creationId xmlns:a16="http://schemas.microsoft.com/office/drawing/2014/main" id="{10A6E5BD-E92D-4CD6-A2B0-13A82602578F}"/>
                </a:ext>
              </a:extLst>
            </p:cNvPr>
            <p:cNvSpPr/>
            <p:nvPr/>
          </p:nvSpPr>
          <p:spPr>
            <a:xfrm>
              <a:off x="4901418" y="2763964"/>
              <a:ext cx="147800" cy="156591"/>
            </a:xfrm>
            <a:custGeom>
              <a:avLst/>
              <a:gdLst/>
              <a:ahLst/>
              <a:cxnLst/>
              <a:rect l="l" t="t" r="r" b="b"/>
              <a:pathLst>
                <a:path w="147800" h="156591" extrusionOk="0">
                  <a:moveTo>
                    <a:pt x="147801" y="113824"/>
                  </a:moveTo>
                  <a:lnTo>
                    <a:pt x="147801" y="0"/>
                  </a:lnTo>
                  <a:lnTo>
                    <a:pt x="587" y="3715"/>
                  </a:lnTo>
                  <a:lnTo>
                    <a:pt x="587" y="108490"/>
                  </a:lnTo>
                  <a:cubicBezTo>
                    <a:pt x="-2169" y="121063"/>
                    <a:pt x="4769" y="134303"/>
                    <a:pt x="21590" y="144018"/>
                  </a:cubicBezTo>
                  <a:cubicBezTo>
                    <a:pt x="54436" y="160782"/>
                    <a:pt x="93287" y="160782"/>
                    <a:pt x="126132" y="144018"/>
                  </a:cubicBezTo>
                  <a:cubicBezTo>
                    <a:pt x="138288" y="138646"/>
                    <a:pt x="146584" y="127083"/>
                    <a:pt x="147801" y="113824"/>
                  </a:cubicBezTo>
                  <a:close/>
                </a:path>
              </a:pathLst>
            </a:custGeom>
            <a:solidFill>
              <a:srgbClr val="A6CE2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" name="Google Shape;781;p18">
              <a:extLst>
                <a:ext uri="{FF2B5EF4-FFF2-40B4-BE49-F238E27FC236}">
                  <a16:creationId xmlns:a16="http://schemas.microsoft.com/office/drawing/2014/main" id="{1FC45958-3362-4E02-B576-E484EC0C3998}"/>
                </a:ext>
              </a:extLst>
            </p:cNvPr>
            <p:cNvSpPr/>
            <p:nvPr/>
          </p:nvSpPr>
          <p:spPr>
            <a:xfrm>
              <a:off x="4901720" y="2721292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8" y="85344"/>
                    <a:pt x="0" y="66239"/>
                    <a:pt x="0" y="42672"/>
                  </a:cubicBezTo>
                  <a:cubicBezTo>
                    <a:pt x="0" y="19105"/>
                    <a:pt x="33018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BCD64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" name="Google Shape;782;p18">
              <a:extLst>
                <a:ext uri="{FF2B5EF4-FFF2-40B4-BE49-F238E27FC236}">
                  <a16:creationId xmlns:a16="http://schemas.microsoft.com/office/drawing/2014/main" id="{852B49D3-9869-4926-BC42-7E3F2F41F9D2}"/>
                </a:ext>
              </a:extLst>
            </p:cNvPr>
            <p:cNvSpPr/>
            <p:nvPr/>
          </p:nvSpPr>
          <p:spPr>
            <a:xfrm>
              <a:off x="4913314" y="2732891"/>
              <a:ext cx="124214" cy="61955"/>
            </a:xfrm>
            <a:custGeom>
              <a:avLst/>
              <a:gdLst/>
              <a:ahLst/>
              <a:cxnLst/>
              <a:rect l="l" t="t" r="r" b="b"/>
              <a:pathLst>
                <a:path w="124214" h="61955" extrusionOk="0">
                  <a:moveTo>
                    <a:pt x="124215" y="31073"/>
                  </a:moveTo>
                  <a:cubicBezTo>
                    <a:pt x="124215" y="38026"/>
                    <a:pt x="118512" y="45360"/>
                    <a:pt x="108438" y="51075"/>
                  </a:cubicBezTo>
                  <a:cubicBezTo>
                    <a:pt x="95636" y="57924"/>
                    <a:pt x="81410" y="61639"/>
                    <a:pt x="66907" y="61934"/>
                  </a:cubicBezTo>
                  <a:lnTo>
                    <a:pt x="62060" y="61934"/>
                  </a:lnTo>
                  <a:cubicBezTo>
                    <a:pt x="45951" y="62277"/>
                    <a:pt x="30032" y="58505"/>
                    <a:pt x="15776" y="50980"/>
                  </a:cubicBezTo>
                  <a:cubicBezTo>
                    <a:pt x="5797" y="45265"/>
                    <a:pt x="0" y="37931"/>
                    <a:pt x="0" y="30978"/>
                  </a:cubicBezTo>
                  <a:cubicBezTo>
                    <a:pt x="0" y="24024"/>
                    <a:pt x="5797" y="16785"/>
                    <a:pt x="15776" y="10975"/>
                  </a:cubicBezTo>
                  <a:cubicBezTo>
                    <a:pt x="30032" y="3450"/>
                    <a:pt x="45951" y="-322"/>
                    <a:pt x="62060" y="21"/>
                  </a:cubicBezTo>
                  <a:lnTo>
                    <a:pt x="66812" y="21"/>
                  </a:lnTo>
                  <a:cubicBezTo>
                    <a:pt x="81314" y="317"/>
                    <a:pt x="95542" y="4031"/>
                    <a:pt x="108343" y="10880"/>
                  </a:cubicBezTo>
                  <a:cubicBezTo>
                    <a:pt x="118512" y="16881"/>
                    <a:pt x="124215" y="24120"/>
                    <a:pt x="124215" y="31073"/>
                  </a:cubicBezTo>
                  <a:close/>
                </a:path>
              </a:pathLst>
            </a:custGeom>
            <a:solidFill>
              <a:srgbClr val="28221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3" name="Google Shape;783;p18">
              <a:extLst>
                <a:ext uri="{FF2B5EF4-FFF2-40B4-BE49-F238E27FC236}">
                  <a16:creationId xmlns:a16="http://schemas.microsoft.com/office/drawing/2014/main" id="{ABFBF28E-D50A-429C-B346-50E5DF444F3F}"/>
                </a:ext>
              </a:extLst>
            </p:cNvPr>
            <p:cNvSpPr/>
            <p:nvPr/>
          </p:nvSpPr>
          <p:spPr>
            <a:xfrm>
              <a:off x="4922818" y="2733153"/>
              <a:ext cx="114710" cy="61622"/>
            </a:xfrm>
            <a:custGeom>
              <a:avLst/>
              <a:gdLst/>
              <a:ahLst/>
              <a:cxnLst/>
              <a:rect l="l" t="t" r="r" b="b"/>
              <a:pathLst>
                <a:path w="114710" h="61622" extrusionOk="0">
                  <a:moveTo>
                    <a:pt x="114711" y="30811"/>
                  </a:moveTo>
                  <a:cubicBezTo>
                    <a:pt x="114711" y="37764"/>
                    <a:pt x="109008" y="45099"/>
                    <a:pt x="98934" y="50814"/>
                  </a:cubicBezTo>
                  <a:cubicBezTo>
                    <a:pt x="73084" y="65225"/>
                    <a:pt x="41627" y="65225"/>
                    <a:pt x="15776" y="50814"/>
                  </a:cubicBezTo>
                  <a:cubicBezTo>
                    <a:pt x="5797" y="45099"/>
                    <a:pt x="0" y="37764"/>
                    <a:pt x="0" y="30811"/>
                  </a:cubicBezTo>
                  <a:cubicBezTo>
                    <a:pt x="0" y="23858"/>
                    <a:pt x="5797" y="16619"/>
                    <a:pt x="15776" y="10808"/>
                  </a:cubicBezTo>
                  <a:cubicBezTo>
                    <a:pt x="41627" y="-3603"/>
                    <a:pt x="73084" y="-3603"/>
                    <a:pt x="98934" y="10808"/>
                  </a:cubicBezTo>
                  <a:cubicBezTo>
                    <a:pt x="109008" y="16619"/>
                    <a:pt x="114711" y="23858"/>
                    <a:pt x="114711" y="30811"/>
                  </a:cubicBezTo>
                  <a:close/>
                </a:path>
              </a:pathLst>
            </a:custGeom>
            <a:solidFill>
              <a:srgbClr val="FFFFFF">
                <a:alpha val="6669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" name="Google Shape;784;p18">
              <a:extLst>
                <a:ext uri="{FF2B5EF4-FFF2-40B4-BE49-F238E27FC236}">
                  <a16:creationId xmlns:a16="http://schemas.microsoft.com/office/drawing/2014/main" id="{E70A8166-AE37-42DB-B142-932A1BE071C2}"/>
                </a:ext>
              </a:extLst>
            </p:cNvPr>
            <p:cNvSpPr/>
            <p:nvPr/>
          </p:nvSpPr>
          <p:spPr>
            <a:xfrm>
              <a:off x="5015195" y="2807589"/>
              <a:ext cx="42215" cy="98678"/>
            </a:xfrm>
            <a:custGeom>
              <a:avLst/>
              <a:gdLst/>
              <a:ahLst/>
              <a:cxnLst/>
              <a:rect l="l" t="t" r="r" b="b"/>
              <a:pathLst>
                <a:path w="42215" h="98678" extrusionOk="0">
                  <a:moveTo>
                    <a:pt x="23284" y="9049"/>
                  </a:moveTo>
                  <a:lnTo>
                    <a:pt x="7603" y="0"/>
                  </a:lnTo>
                  <a:lnTo>
                    <a:pt x="0" y="4477"/>
                  </a:lnTo>
                  <a:lnTo>
                    <a:pt x="7603" y="8858"/>
                  </a:lnTo>
                  <a:lnTo>
                    <a:pt x="7603" y="11716"/>
                  </a:lnTo>
                  <a:lnTo>
                    <a:pt x="22239" y="20193"/>
                  </a:lnTo>
                  <a:lnTo>
                    <a:pt x="22239" y="22955"/>
                  </a:lnTo>
                  <a:cubicBezTo>
                    <a:pt x="25765" y="28004"/>
                    <a:pt x="28939" y="33290"/>
                    <a:pt x="31743" y="38767"/>
                  </a:cubicBezTo>
                  <a:lnTo>
                    <a:pt x="32313" y="38290"/>
                  </a:lnTo>
                  <a:lnTo>
                    <a:pt x="32313" y="74962"/>
                  </a:lnTo>
                  <a:cubicBezTo>
                    <a:pt x="32313" y="84487"/>
                    <a:pt x="26706" y="81343"/>
                    <a:pt x="24235" y="79915"/>
                  </a:cubicBezTo>
                  <a:lnTo>
                    <a:pt x="7793" y="70390"/>
                  </a:lnTo>
                  <a:lnTo>
                    <a:pt x="190" y="74866"/>
                  </a:lnTo>
                  <a:lnTo>
                    <a:pt x="7793" y="79248"/>
                  </a:lnTo>
                  <a:lnTo>
                    <a:pt x="7793" y="82105"/>
                  </a:lnTo>
                  <a:lnTo>
                    <a:pt x="24235" y="91630"/>
                  </a:lnTo>
                  <a:cubicBezTo>
                    <a:pt x="25945" y="92630"/>
                    <a:pt x="27760" y="93431"/>
                    <a:pt x="29652" y="94012"/>
                  </a:cubicBezTo>
                  <a:lnTo>
                    <a:pt x="28606" y="98679"/>
                  </a:lnTo>
                  <a:lnTo>
                    <a:pt x="37160" y="93821"/>
                  </a:lnTo>
                  <a:lnTo>
                    <a:pt x="37160" y="93821"/>
                  </a:lnTo>
                  <a:cubicBezTo>
                    <a:pt x="40847" y="90678"/>
                    <a:pt x="42710" y="85877"/>
                    <a:pt x="42102" y="81058"/>
                  </a:cubicBezTo>
                  <a:lnTo>
                    <a:pt x="42102" y="42958"/>
                  </a:lnTo>
                  <a:cubicBezTo>
                    <a:pt x="41370" y="29356"/>
                    <a:pt x="34423" y="16850"/>
                    <a:pt x="23284" y="9049"/>
                  </a:cubicBezTo>
                  <a:close/>
                </a:path>
              </a:pathLst>
            </a:custGeom>
            <a:solidFill>
              <a:srgbClr val="8DA01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5" name="Google Shape;785;p18">
              <a:extLst>
                <a:ext uri="{FF2B5EF4-FFF2-40B4-BE49-F238E27FC236}">
                  <a16:creationId xmlns:a16="http://schemas.microsoft.com/office/drawing/2014/main" id="{98DE1CA9-3D01-4E47-8D41-8C22783F01DB}"/>
                </a:ext>
              </a:extLst>
            </p:cNvPr>
            <p:cNvSpPr/>
            <p:nvPr/>
          </p:nvSpPr>
          <p:spPr>
            <a:xfrm>
              <a:off x="5015195" y="2812256"/>
              <a:ext cx="34783" cy="94465"/>
            </a:xfrm>
            <a:custGeom>
              <a:avLst/>
              <a:gdLst/>
              <a:ahLst/>
              <a:cxnLst/>
              <a:rect l="l" t="t" r="r" b="b"/>
              <a:pathLst>
                <a:path w="34783" h="94465" extrusionOk="0">
                  <a:moveTo>
                    <a:pt x="16442" y="91440"/>
                  </a:moveTo>
                  <a:lnTo>
                    <a:pt x="0" y="81915"/>
                  </a:lnTo>
                  <a:lnTo>
                    <a:pt x="0" y="70199"/>
                  </a:lnTo>
                  <a:lnTo>
                    <a:pt x="16442" y="79724"/>
                  </a:lnTo>
                  <a:cubicBezTo>
                    <a:pt x="18818" y="81058"/>
                    <a:pt x="24520" y="84296"/>
                    <a:pt x="24520" y="74676"/>
                  </a:cubicBezTo>
                  <a:lnTo>
                    <a:pt x="24520" y="36576"/>
                  </a:lnTo>
                  <a:cubicBezTo>
                    <a:pt x="23949" y="30013"/>
                    <a:pt x="20462" y="24070"/>
                    <a:pt x="15016" y="20384"/>
                  </a:cubicBezTo>
                  <a:lnTo>
                    <a:pt x="95" y="11716"/>
                  </a:lnTo>
                  <a:lnTo>
                    <a:pt x="95" y="0"/>
                  </a:lnTo>
                  <a:lnTo>
                    <a:pt x="15776" y="9049"/>
                  </a:lnTo>
                  <a:cubicBezTo>
                    <a:pt x="26867" y="16707"/>
                    <a:pt x="33862" y="29013"/>
                    <a:pt x="34784" y="42481"/>
                  </a:cubicBezTo>
                  <a:lnTo>
                    <a:pt x="34784" y="80581"/>
                  </a:lnTo>
                  <a:cubicBezTo>
                    <a:pt x="34594" y="90869"/>
                    <a:pt x="29842" y="99155"/>
                    <a:pt x="16442" y="91440"/>
                  </a:cubicBezTo>
                  <a:close/>
                </a:path>
              </a:pathLst>
            </a:custGeom>
            <a:solidFill>
              <a:srgbClr val="99B52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" name="Google Shape;786;p18">
              <a:extLst>
                <a:ext uri="{FF2B5EF4-FFF2-40B4-BE49-F238E27FC236}">
                  <a16:creationId xmlns:a16="http://schemas.microsoft.com/office/drawing/2014/main" id="{F8C263ED-7F11-4427-B7CA-9AE4DD0B25EF}"/>
                </a:ext>
              </a:extLst>
            </p:cNvPr>
            <p:cNvSpPr/>
            <p:nvPr/>
          </p:nvSpPr>
          <p:spPr>
            <a:xfrm>
              <a:off x="3439562" y="2994755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9" y="85344"/>
                    <a:pt x="0" y="66239"/>
                    <a:pt x="0" y="42672"/>
                  </a:cubicBezTo>
                  <a:cubicBezTo>
                    <a:pt x="0" y="19105"/>
                    <a:pt x="33019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000000">
                <a:alpha val="2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" name="Google Shape;787;p18">
              <a:extLst>
                <a:ext uri="{FF2B5EF4-FFF2-40B4-BE49-F238E27FC236}">
                  <a16:creationId xmlns:a16="http://schemas.microsoft.com/office/drawing/2014/main" id="{D2F02E20-1042-4C4A-9C1A-07C63BF18C56}"/>
                </a:ext>
              </a:extLst>
            </p:cNvPr>
            <p:cNvSpPr/>
            <p:nvPr/>
          </p:nvSpPr>
          <p:spPr>
            <a:xfrm>
              <a:off x="3446488" y="2917507"/>
              <a:ext cx="147795" cy="156591"/>
            </a:xfrm>
            <a:custGeom>
              <a:avLst/>
              <a:gdLst/>
              <a:ahLst/>
              <a:cxnLst/>
              <a:rect l="l" t="t" r="r" b="b"/>
              <a:pathLst>
                <a:path w="147795" h="156591" extrusionOk="0">
                  <a:moveTo>
                    <a:pt x="147796" y="113824"/>
                  </a:moveTo>
                  <a:lnTo>
                    <a:pt x="147796" y="0"/>
                  </a:lnTo>
                  <a:lnTo>
                    <a:pt x="582" y="3715"/>
                  </a:lnTo>
                  <a:lnTo>
                    <a:pt x="582" y="108490"/>
                  </a:lnTo>
                  <a:cubicBezTo>
                    <a:pt x="-2174" y="121158"/>
                    <a:pt x="4859" y="134398"/>
                    <a:pt x="21586" y="144018"/>
                  </a:cubicBezTo>
                  <a:cubicBezTo>
                    <a:pt x="54431" y="160782"/>
                    <a:pt x="93282" y="160782"/>
                    <a:pt x="126127" y="144018"/>
                  </a:cubicBezTo>
                  <a:cubicBezTo>
                    <a:pt x="138302" y="138655"/>
                    <a:pt x="146598" y="127092"/>
                    <a:pt x="147796" y="113824"/>
                  </a:cubicBezTo>
                  <a:close/>
                </a:path>
              </a:pathLst>
            </a:custGeom>
            <a:solidFill>
              <a:srgbClr val="F7B03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" name="Google Shape;788;p18">
              <a:extLst>
                <a:ext uri="{FF2B5EF4-FFF2-40B4-BE49-F238E27FC236}">
                  <a16:creationId xmlns:a16="http://schemas.microsoft.com/office/drawing/2014/main" id="{48E1F49F-78B6-4A3B-9185-53F54E1F4BEB}"/>
                </a:ext>
              </a:extLst>
            </p:cNvPr>
            <p:cNvSpPr/>
            <p:nvPr/>
          </p:nvSpPr>
          <p:spPr>
            <a:xfrm>
              <a:off x="3446785" y="2874835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9" y="85344"/>
                    <a:pt x="0" y="66239"/>
                    <a:pt x="0" y="42672"/>
                  </a:cubicBezTo>
                  <a:cubicBezTo>
                    <a:pt x="0" y="19105"/>
                    <a:pt x="33019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FCC06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" name="Google Shape;789;p18">
              <a:extLst>
                <a:ext uri="{FF2B5EF4-FFF2-40B4-BE49-F238E27FC236}">
                  <a16:creationId xmlns:a16="http://schemas.microsoft.com/office/drawing/2014/main" id="{653DE10B-27E3-430A-B722-9A0AC826EBE2}"/>
                </a:ext>
              </a:extLst>
            </p:cNvPr>
            <p:cNvSpPr/>
            <p:nvPr/>
          </p:nvSpPr>
          <p:spPr>
            <a:xfrm>
              <a:off x="3458475" y="2886430"/>
              <a:ext cx="124119" cy="61959"/>
            </a:xfrm>
            <a:custGeom>
              <a:avLst/>
              <a:gdLst/>
              <a:ahLst/>
              <a:cxnLst/>
              <a:rect l="l" t="t" r="r" b="b"/>
              <a:pathLst>
                <a:path w="124119" h="61959" extrusionOk="0">
                  <a:moveTo>
                    <a:pt x="124119" y="31076"/>
                  </a:moveTo>
                  <a:cubicBezTo>
                    <a:pt x="124119" y="38030"/>
                    <a:pt x="118322" y="45269"/>
                    <a:pt x="108343" y="51079"/>
                  </a:cubicBezTo>
                  <a:cubicBezTo>
                    <a:pt x="95523" y="57870"/>
                    <a:pt x="81305" y="61595"/>
                    <a:pt x="66812" y="61938"/>
                  </a:cubicBezTo>
                  <a:lnTo>
                    <a:pt x="62060" y="61938"/>
                  </a:lnTo>
                  <a:cubicBezTo>
                    <a:pt x="45951" y="62280"/>
                    <a:pt x="30032" y="58509"/>
                    <a:pt x="15776" y="50984"/>
                  </a:cubicBezTo>
                  <a:cubicBezTo>
                    <a:pt x="5702" y="45174"/>
                    <a:pt x="0" y="37935"/>
                    <a:pt x="0" y="30981"/>
                  </a:cubicBezTo>
                  <a:cubicBezTo>
                    <a:pt x="0" y="24028"/>
                    <a:pt x="5702" y="16694"/>
                    <a:pt x="15776" y="10884"/>
                  </a:cubicBezTo>
                  <a:cubicBezTo>
                    <a:pt x="30041" y="3397"/>
                    <a:pt x="45960" y="-346"/>
                    <a:pt x="62060" y="25"/>
                  </a:cubicBezTo>
                  <a:lnTo>
                    <a:pt x="66812" y="25"/>
                  </a:lnTo>
                  <a:cubicBezTo>
                    <a:pt x="81305" y="301"/>
                    <a:pt x="95532" y="3987"/>
                    <a:pt x="108343" y="10788"/>
                  </a:cubicBezTo>
                  <a:cubicBezTo>
                    <a:pt x="118322" y="16789"/>
                    <a:pt x="124119" y="24123"/>
                    <a:pt x="124119" y="31076"/>
                  </a:cubicBezTo>
                  <a:close/>
                </a:path>
              </a:pathLst>
            </a:custGeom>
            <a:solidFill>
              <a:srgbClr val="28221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" name="Google Shape;790;p18">
              <a:extLst>
                <a:ext uri="{FF2B5EF4-FFF2-40B4-BE49-F238E27FC236}">
                  <a16:creationId xmlns:a16="http://schemas.microsoft.com/office/drawing/2014/main" id="{12409128-B241-4F7D-9AAD-5696BE813764}"/>
                </a:ext>
              </a:extLst>
            </p:cNvPr>
            <p:cNvSpPr/>
            <p:nvPr/>
          </p:nvSpPr>
          <p:spPr>
            <a:xfrm>
              <a:off x="3467883" y="2886601"/>
              <a:ext cx="114710" cy="61717"/>
            </a:xfrm>
            <a:custGeom>
              <a:avLst/>
              <a:gdLst/>
              <a:ahLst/>
              <a:cxnLst/>
              <a:rect l="l" t="t" r="r" b="b"/>
              <a:pathLst>
                <a:path w="114710" h="61717" extrusionOk="0">
                  <a:moveTo>
                    <a:pt x="114711" y="30906"/>
                  </a:moveTo>
                  <a:cubicBezTo>
                    <a:pt x="114711" y="37859"/>
                    <a:pt x="108913" y="45099"/>
                    <a:pt x="98934" y="50909"/>
                  </a:cubicBezTo>
                  <a:cubicBezTo>
                    <a:pt x="73084" y="65320"/>
                    <a:pt x="41626" y="65320"/>
                    <a:pt x="15776" y="50909"/>
                  </a:cubicBezTo>
                  <a:cubicBezTo>
                    <a:pt x="6272" y="45099"/>
                    <a:pt x="0" y="37859"/>
                    <a:pt x="0" y="30906"/>
                  </a:cubicBezTo>
                  <a:cubicBezTo>
                    <a:pt x="0" y="23953"/>
                    <a:pt x="5797" y="16619"/>
                    <a:pt x="15776" y="10808"/>
                  </a:cubicBezTo>
                  <a:cubicBezTo>
                    <a:pt x="41626" y="-3603"/>
                    <a:pt x="73084" y="-3603"/>
                    <a:pt x="98934" y="10808"/>
                  </a:cubicBezTo>
                  <a:cubicBezTo>
                    <a:pt x="108913" y="16619"/>
                    <a:pt x="114711" y="23953"/>
                    <a:pt x="114711" y="30906"/>
                  </a:cubicBezTo>
                  <a:close/>
                </a:path>
              </a:pathLst>
            </a:custGeom>
            <a:solidFill>
              <a:srgbClr val="FFFFFF">
                <a:alpha val="6669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" name="Google Shape;791;p18">
              <a:extLst>
                <a:ext uri="{FF2B5EF4-FFF2-40B4-BE49-F238E27FC236}">
                  <a16:creationId xmlns:a16="http://schemas.microsoft.com/office/drawing/2014/main" id="{1BFAE8F4-5C35-4A56-A3AE-5CBF9C05207C}"/>
                </a:ext>
              </a:extLst>
            </p:cNvPr>
            <p:cNvSpPr/>
            <p:nvPr/>
          </p:nvSpPr>
          <p:spPr>
            <a:xfrm>
              <a:off x="3559880" y="2961132"/>
              <a:ext cx="42223" cy="98678"/>
            </a:xfrm>
            <a:custGeom>
              <a:avLst/>
              <a:gdLst/>
              <a:ahLst/>
              <a:cxnLst/>
              <a:rect l="l" t="t" r="r" b="b"/>
              <a:pathLst>
                <a:path w="42223" h="98678" extrusionOk="0">
                  <a:moveTo>
                    <a:pt x="23569" y="9049"/>
                  </a:moveTo>
                  <a:lnTo>
                    <a:pt x="7983" y="0"/>
                  </a:lnTo>
                  <a:lnTo>
                    <a:pt x="285" y="4381"/>
                  </a:lnTo>
                  <a:lnTo>
                    <a:pt x="7983" y="8858"/>
                  </a:lnTo>
                  <a:lnTo>
                    <a:pt x="7983" y="11716"/>
                  </a:lnTo>
                  <a:lnTo>
                    <a:pt x="22619" y="20193"/>
                  </a:lnTo>
                  <a:lnTo>
                    <a:pt x="22144" y="22955"/>
                  </a:lnTo>
                  <a:cubicBezTo>
                    <a:pt x="25689" y="27984"/>
                    <a:pt x="28873" y="33271"/>
                    <a:pt x="31648" y="38767"/>
                  </a:cubicBezTo>
                  <a:lnTo>
                    <a:pt x="32123" y="38290"/>
                  </a:lnTo>
                  <a:lnTo>
                    <a:pt x="32123" y="74962"/>
                  </a:lnTo>
                  <a:cubicBezTo>
                    <a:pt x="32123" y="84487"/>
                    <a:pt x="26516" y="81344"/>
                    <a:pt x="24140" y="79915"/>
                  </a:cubicBezTo>
                  <a:lnTo>
                    <a:pt x="7698" y="70390"/>
                  </a:lnTo>
                  <a:lnTo>
                    <a:pt x="0" y="74771"/>
                  </a:lnTo>
                  <a:lnTo>
                    <a:pt x="7698" y="79248"/>
                  </a:lnTo>
                  <a:lnTo>
                    <a:pt x="7698" y="82105"/>
                  </a:lnTo>
                  <a:lnTo>
                    <a:pt x="24140" y="91630"/>
                  </a:lnTo>
                  <a:cubicBezTo>
                    <a:pt x="25812" y="92631"/>
                    <a:pt x="27599" y="93431"/>
                    <a:pt x="29462" y="94012"/>
                  </a:cubicBezTo>
                  <a:lnTo>
                    <a:pt x="28511" y="98679"/>
                  </a:lnTo>
                  <a:lnTo>
                    <a:pt x="37065" y="93821"/>
                  </a:lnTo>
                  <a:lnTo>
                    <a:pt x="37065" y="93821"/>
                  </a:lnTo>
                  <a:cubicBezTo>
                    <a:pt x="40838" y="90687"/>
                    <a:pt x="42739" y="85830"/>
                    <a:pt x="42102" y="80963"/>
                  </a:cubicBezTo>
                  <a:lnTo>
                    <a:pt x="42102" y="42863"/>
                  </a:lnTo>
                  <a:cubicBezTo>
                    <a:pt x="41408" y="29346"/>
                    <a:pt x="34575" y="16888"/>
                    <a:pt x="23569" y="9049"/>
                  </a:cubicBezTo>
                  <a:close/>
                </a:path>
              </a:pathLst>
            </a:custGeom>
            <a:solidFill>
              <a:srgbClr val="C9883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" name="Google Shape;792;p18">
              <a:extLst>
                <a:ext uri="{FF2B5EF4-FFF2-40B4-BE49-F238E27FC236}">
                  <a16:creationId xmlns:a16="http://schemas.microsoft.com/office/drawing/2014/main" id="{6B515654-6342-44E2-8C95-8E5F9B3554A6}"/>
                </a:ext>
              </a:extLst>
            </p:cNvPr>
            <p:cNvSpPr/>
            <p:nvPr/>
          </p:nvSpPr>
          <p:spPr>
            <a:xfrm>
              <a:off x="3560165" y="2965989"/>
              <a:ext cx="34688" cy="94398"/>
            </a:xfrm>
            <a:custGeom>
              <a:avLst/>
              <a:gdLst/>
              <a:ahLst/>
              <a:cxnLst/>
              <a:rect l="l" t="t" r="r" b="b"/>
              <a:pathLst>
                <a:path w="34688" h="94398" extrusionOk="0">
                  <a:moveTo>
                    <a:pt x="16537" y="91535"/>
                  </a:moveTo>
                  <a:lnTo>
                    <a:pt x="0" y="82010"/>
                  </a:lnTo>
                  <a:lnTo>
                    <a:pt x="0" y="70199"/>
                  </a:lnTo>
                  <a:lnTo>
                    <a:pt x="16537" y="79724"/>
                  </a:lnTo>
                  <a:cubicBezTo>
                    <a:pt x="18913" y="81153"/>
                    <a:pt x="24520" y="84391"/>
                    <a:pt x="24520" y="74771"/>
                  </a:cubicBezTo>
                  <a:lnTo>
                    <a:pt x="24520" y="36671"/>
                  </a:lnTo>
                  <a:cubicBezTo>
                    <a:pt x="23874" y="30108"/>
                    <a:pt x="20405" y="24165"/>
                    <a:pt x="15016" y="20383"/>
                  </a:cubicBezTo>
                  <a:lnTo>
                    <a:pt x="0" y="11811"/>
                  </a:lnTo>
                  <a:lnTo>
                    <a:pt x="0" y="0"/>
                  </a:lnTo>
                  <a:lnTo>
                    <a:pt x="15681" y="9525"/>
                  </a:lnTo>
                  <a:cubicBezTo>
                    <a:pt x="26782" y="17173"/>
                    <a:pt x="33776" y="29489"/>
                    <a:pt x="34689" y="42958"/>
                  </a:cubicBezTo>
                  <a:lnTo>
                    <a:pt x="34689" y="81058"/>
                  </a:lnTo>
                  <a:cubicBezTo>
                    <a:pt x="34689" y="90678"/>
                    <a:pt x="29937" y="98965"/>
                    <a:pt x="16537" y="91535"/>
                  </a:cubicBezTo>
                  <a:close/>
                </a:path>
              </a:pathLst>
            </a:custGeom>
            <a:solidFill>
              <a:srgbClr val="E09C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" name="Google Shape;793;p18">
              <a:extLst>
                <a:ext uri="{FF2B5EF4-FFF2-40B4-BE49-F238E27FC236}">
                  <a16:creationId xmlns:a16="http://schemas.microsoft.com/office/drawing/2014/main" id="{0A6F7DAE-AFE6-4481-949F-FE4E748D7711}"/>
                </a:ext>
              </a:extLst>
            </p:cNvPr>
            <p:cNvSpPr/>
            <p:nvPr/>
          </p:nvSpPr>
          <p:spPr>
            <a:xfrm>
              <a:off x="5618400" y="4515040"/>
              <a:ext cx="756691" cy="437959"/>
            </a:xfrm>
            <a:custGeom>
              <a:avLst/>
              <a:gdLst/>
              <a:ahLst/>
              <a:cxnLst/>
              <a:rect l="l" t="t" r="r" b="b"/>
              <a:pathLst>
                <a:path w="756691" h="437959" extrusionOk="0">
                  <a:moveTo>
                    <a:pt x="756691" y="218980"/>
                  </a:moveTo>
                  <a:cubicBezTo>
                    <a:pt x="756691" y="339919"/>
                    <a:pt x="587300" y="437960"/>
                    <a:pt x="378346" y="437960"/>
                  </a:cubicBezTo>
                  <a:cubicBezTo>
                    <a:pt x="169391" y="437960"/>
                    <a:pt x="0" y="339919"/>
                    <a:pt x="0" y="218980"/>
                  </a:cubicBezTo>
                  <a:cubicBezTo>
                    <a:pt x="0" y="98041"/>
                    <a:pt x="169391" y="0"/>
                    <a:pt x="378346" y="0"/>
                  </a:cubicBezTo>
                  <a:cubicBezTo>
                    <a:pt x="587300" y="0"/>
                    <a:pt x="756691" y="98041"/>
                    <a:pt x="756691" y="21898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" name="Google Shape;794;p18">
              <a:extLst>
                <a:ext uri="{FF2B5EF4-FFF2-40B4-BE49-F238E27FC236}">
                  <a16:creationId xmlns:a16="http://schemas.microsoft.com/office/drawing/2014/main" id="{C950E8D5-370C-438A-BB3C-22352154EFA8}"/>
                </a:ext>
              </a:extLst>
            </p:cNvPr>
            <p:cNvSpPr/>
            <p:nvPr/>
          </p:nvSpPr>
          <p:spPr>
            <a:xfrm>
              <a:off x="6158405" y="3069812"/>
              <a:ext cx="186021" cy="406050"/>
            </a:xfrm>
            <a:custGeom>
              <a:avLst/>
              <a:gdLst/>
              <a:ahLst/>
              <a:cxnLst/>
              <a:rect l="l" t="t" r="r" b="b"/>
              <a:pathLst>
                <a:path w="186021" h="406050" extrusionOk="0">
                  <a:moveTo>
                    <a:pt x="145028" y="0"/>
                  </a:moveTo>
                  <a:cubicBezTo>
                    <a:pt x="149304" y="38100"/>
                    <a:pt x="194352" y="200882"/>
                    <a:pt x="184659" y="256699"/>
                  </a:cubicBezTo>
                  <a:cubicBezTo>
                    <a:pt x="174965" y="312515"/>
                    <a:pt x="21288" y="406051"/>
                    <a:pt x="21288" y="406051"/>
                  </a:cubicBezTo>
                  <a:lnTo>
                    <a:pt x="0" y="310801"/>
                  </a:lnTo>
                  <a:lnTo>
                    <a:pt x="85534" y="227171"/>
                  </a:lnTo>
                  <a:lnTo>
                    <a:pt x="61965" y="68389"/>
                  </a:ln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" name="Google Shape;795;p18">
              <a:extLst>
                <a:ext uri="{FF2B5EF4-FFF2-40B4-BE49-F238E27FC236}">
                  <a16:creationId xmlns:a16="http://schemas.microsoft.com/office/drawing/2014/main" id="{FF747AA1-21DC-4D37-84A7-27C73DC414D7}"/>
                </a:ext>
              </a:extLst>
            </p:cNvPr>
            <p:cNvSpPr/>
            <p:nvPr/>
          </p:nvSpPr>
          <p:spPr>
            <a:xfrm>
              <a:off x="6184541" y="2902850"/>
              <a:ext cx="133813" cy="257894"/>
            </a:xfrm>
            <a:custGeom>
              <a:avLst/>
              <a:gdLst/>
              <a:ahLst/>
              <a:cxnLst/>
              <a:rect l="l" t="t" r="r" b="b"/>
              <a:pathLst>
                <a:path w="133813" h="257894" extrusionOk="0">
                  <a:moveTo>
                    <a:pt x="0" y="6275"/>
                  </a:moveTo>
                  <a:cubicBezTo>
                    <a:pt x="30935" y="-8136"/>
                    <a:pt x="67743" y="3008"/>
                    <a:pt x="85534" y="32183"/>
                  </a:cubicBezTo>
                  <a:cubicBezTo>
                    <a:pt x="108153" y="69712"/>
                    <a:pt x="131627" y="198490"/>
                    <a:pt x="133813" y="220492"/>
                  </a:cubicBezTo>
                  <a:cubicBezTo>
                    <a:pt x="133813" y="220492"/>
                    <a:pt x="102071" y="264403"/>
                    <a:pt x="54457" y="257068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" name="Google Shape;796;p18">
              <a:extLst>
                <a:ext uri="{FF2B5EF4-FFF2-40B4-BE49-F238E27FC236}">
                  <a16:creationId xmlns:a16="http://schemas.microsoft.com/office/drawing/2014/main" id="{A29DCFAD-D5D9-44B9-9538-137CFA30032B}"/>
                </a:ext>
              </a:extLst>
            </p:cNvPr>
            <p:cNvSpPr/>
            <p:nvPr/>
          </p:nvSpPr>
          <p:spPr>
            <a:xfrm>
              <a:off x="5735029" y="4688404"/>
              <a:ext cx="288490" cy="162715"/>
            </a:xfrm>
            <a:custGeom>
              <a:avLst/>
              <a:gdLst/>
              <a:ahLst/>
              <a:cxnLst/>
              <a:rect l="l" t="t" r="r" b="b"/>
              <a:pathLst>
                <a:path w="288490" h="162715" extrusionOk="0">
                  <a:moveTo>
                    <a:pt x="273882" y="39044"/>
                  </a:moveTo>
                  <a:cubicBezTo>
                    <a:pt x="240419" y="48340"/>
                    <a:pt x="204647" y="43997"/>
                    <a:pt x="174377" y="26947"/>
                  </a:cubicBezTo>
                  <a:cubicBezTo>
                    <a:pt x="150428" y="27709"/>
                    <a:pt x="20321" y="-28108"/>
                    <a:pt x="2644" y="18756"/>
                  </a:cubicBezTo>
                  <a:cubicBezTo>
                    <a:pt x="-12847" y="59808"/>
                    <a:pt x="43510" y="97813"/>
                    <a:pt x="73637" y="105147"/>
                  </a:cubicBezTo>
                  <a:cubicBezTo>
                    <a:pt x="139308" y="121054"/>
                    <a:pt x="187683" y="153915"/>
                    <a:pt x="214293" y="159440"/>
                  </a:cubicBezTo>
                  <a:cubicBezTo>
                    <a:pt x="233966" y="163631"/>
                    <a:pt x="259436" y="166393"/>
                    <a:pt x="275118" y="150867"/>
                  </a:cubicBezTo>
                  <a:cubicBezTo>
                    <a:pt x="293935" y="132293"/>
                    <a:pt x="292319" y="63523"/>
                    <a:pt x="273882" y="39044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" name="Google Shape;797;p18">
              <a:extLst>
                <a:ext uri="{FF2B5EF4-FFF2-40B4-BE49-F238E27FC236}">
                  <a16:creationId xmlns:a16="http://schemas.microsoft.com/office/drawing/2014/main" id="{422774E4-1B8C-4E26-93F3-1F0717FD8A5B}"/>
                </a:ext>
              </a:extLst>
            </p:cNvPr>
            <p:cNvSpPr/>
            <p:nvPr/>
          </p:nvSpPr>
          <p:spPr>
            <a:xfrm>
              <a:off x="5735111" y="4715446"/>
              <a:ext cx="283683" cy="135768"/>
            </a:xfrm>
            <a:custGeom>
              <a:avLst/>
              <a:gdLst/>
              <a:ahLst/>
              <a:cxnLst/>
              <a:rect l="l" t="t" r="r" b="b"/>
              <a:pathLst>
                <a:path w="283683" h="135768" extrusionOk="0">
                  <a:moveTo>
                    <a:pt x="214211" y="121063"/>
                  </a:moveTo>
                  <a:cubicBezTo>
                    <a:pt x="187885" y="115538"/>
                    <a:pt x="139226" y="82963"/>
                    <a:pt x="73555" y="66675"/>
                  </a:cubicBezTo>
                  <a:cubicBezTo>
                    <a:pt x="48275" y="60579"/>
                    <a:pt x="4843" y="32861"/>
                    <a:pt x="471" y="0"/>
                  </a:cubicBezTo>
                  <a:cubicBezTo>
                    <a:pt x="-5422" y="38100"/>
                    <a:pt x="45424" y="71342"/>
                    <a:pt x="73555" y="78200"/>
                  </a:cubicBezTo>
                  <a:cubicBezTo>
                    <a:pt x="139226" y="94107"/>
                    <a:pt x="187600" y="126968"/>
                    <a:pt x="214211" y="132493"/>
                  </a:cubicBezTo>
                  <a:cubicBezTo>
                    <a:pt x="233884" y="136684"/>
                    <a:pt x="259354" y="139446"/>
                    <a:pt x="275035" y="123920"/>
                  </a:cubicBezTo>
                  <a:cubicBezTo>
                    <a:pt x="279074" y="119415"/>
                    <a:pt x="282040" y="114033"/>
                    <a:pt x="283684" y="108204"/>
                  </a:cubicBezTo>
                  <a:cubicBezTo>
                    <a:pt x="263859" y="123254"/>
                    <a:pt x="238094" y="128026"/>
                    <a:pt x="214211" y="12106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" name="Google Shape;798;p18">
              <a:extLst>
                <a:ext uri="{FF2B5EF4-FFF2-40B4-BE49-F238E27FC236}">
                  <a16:creationId xmlns:a16="http://schemas.microsoft.com/office/drawing/2014/main" id="{47B4F731-D44A-4127-81DE-49165AAC460E}"/>
                </a:ext>
              </a:extLst>
            </p:cNvPr>
            <p:cNvSpPr/>
            <p:nvPr/>
          </p:nvSpPr>
          <p:spPr>
            <a:xfrm>
              <a:off x="5946488" y="4593442"/>
              <a:ext cx="288134" cy="162731"/>
            </a:xfrm>
            <a:custGeom>
              <a:avLst/>
              <a:gdLst/>
              <a:ahLst/>
              <a:cxnLst/>
              <a:rect l="l" t="t" r="r" b="b"/>
              <a:pathLst>
                <a:path w="288134" h="162731" extrusionOk="0">
                  <a:moveTo>
                    <a:pt x="273882" y="39041"/>
                  </a:moveTo>
                  <a:cubicBezTo>
                    <a:pt x="240429" y="48319"/>
                    <a:pt x="204675" y="44004"/>
                    <a:pt x="174377" y="27040"/>
                  </a:cubicBezTo>
                  <a:cubicBezTo>
                    <a:pt x="150428" y="27707"/>
                    <a:pt x="20321" y="-28110"/>
                    <a:pt x="2644" y="18753"/>
                  </a:cubicBezTo>
                  <a:cubicBezTo>
                    <a:pt x="-12847" y="59806"/>
                    <a:pt x="43510" y="97810"/>
                    <a:pt x="73637" y="105145"/>
                  </a:cubicBezTo>
                  <a:cubicBezTo>
                    <a:pt x="139308" y="121051"/>
                    <a:pt x="187683" y="153913"/>
                    <a:pt x="214293" y="159533"/>
                  </a:cubicBezTo>
                  <a:cubicBezTo>
                    <a:pt x="234061" y="163628"/>
                    <a:pt x="259436" y="166391"/>
                    <a:pt x="275118" y="150865"/>
                  </a:cubicBezTo>
                  <a:cubicBezTo>
                    <a:pt x="293460" y="132291"/>
                    <a:pt x="291844" y="63521"/>
                    <a:pt x="273882" y="39041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" name="Google Shape;799;p18">
              <a:extLst>
                <a:ext uri="{FF2B5EF4-FFF2-40B4-BE49-F238E27FC236}">
                  <a16:creationId xmlns:a16="http://schemas.microsoft.com/office/drawing/2014/main" id="{89EE4A27-1740-4FA6-A83D-383B7B39B87D}"/>
                </a:ext>
              </a:extLst>
            </p:cNvPr>
            <p:cNvSpPr/>
            <p:nvPr/>
          </p:nvSpPr>
          <p:spPr>
            <a:xfrm>
              <a:off x="5946095" y="4620482"/>
              <a:ext cx="283683" cy="135691"/>
            </a:xfrm>
            <a:custGeom>
              <a:avLst/>
              <a:gdLst/>
              <a:ahLst/>
              <a:cxnLst/>
              <a:rect l="l" t="t" r="r" b="b"/>
              <a:pathLst>
                <a:path w="283683" h="135691" extrusionOk="0">
                  <a:moveTo>
                    <a:pt x="214211" y="121063"/>
                  </a:moveTo>
                  <a:cubicBezTo>
                    <a:pt x="187885" y="115538"/>
                    <a:pt x="139226" y="82963"/>
                    <a:pt x="73555" y="66675"/>
                  </a:cubicBezTo>
                  <a:cubicBezTo>
                    <a:pt x="48275" y="60579"/>
                    <a:pt x="4842" y="32956"/>
                    <a:pt x="471" y="0"/>
                  </a:cubicBezTo>
                  <a:cubicBezTo>
                    <a:pt x="-5422" y="38100"/>
                    <a:pt x="45424" y="71247"/>
                    <a:pt x="73555" y="78105"/>
                  </a:cubicBezTo>
                  <a:cubicBezTo>
                    <a:pt x="139226" y="94012"/>
                    <a:pt x="187600" y="126873"/>
                    <a:pt x="214211" y="132493"/>
                  </a:cubicBezTo>
                  <a:cubicBezTo>
                    <a:pt x="233979" y="136588"/>
                    <a:pt x="259354" y="139351"/>
                    <a:pt x="275035" y="123825"/>
                  </a:cubicBezTo>
                  <a:cubicBezTo>
                    <a:pt x="279074" y="119320"/>
                    <a:pt x="282039" y="113938"/>
                    <a:pt x="283683" y="108109"/>
                  </a:cubicBezTo>
                  <a:cubicBezTo>
                    <a:pt x="263868" y="123187"/>
                    <a:pt x="238113" y="127997"/>
                    <a:pt x="214211" y="12106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0" name="Google Shape;800;p18">
              <a:extLst>
                <a:ext uri="{FF2B5EF4-FFF2-40B4-BE49-F238E27FC236}">
                  <a16:creationId xmlns:a16="http://schemas.microsoft.com/office/drawing/2014/main" id="{7BA72A4C-530B-4BEF-BAF8-06DCB345568F}"/>
                </a:ext>
              </a:extLst>
            </p:cNvPr>
            <p:cNvSpPr/>
            <p:nvPr/>
          </p:nvSpPr>
          <p:spPr>
            <a:xfrm>
              <a:off x="5812467" y="3540156"/>
              <a:ext cx="422006" cy="1193603"/>
            </a:xfrm>
            <a:custGeom>
              <a:avLst/>
              <a:gdLst/>
              <a:ahLst/>
              <a:cxnLst/>
              <a:rect l="l" t="t" r="r" b="b"/>
              <a:pathLst>
                <a:path w="422006" h="1193603" extrusionOk="0">
                  <a:moveTo>
                    <a:pt x="409993" y="738092"/>
                  </a:moveTo>
                  <a:cubicBezTo>
                    <a:pt x="404434" y="689638"/>
                    <a:pt x="394379" y="641804"/>
                    <a:pt x="379961" y="595217"/>
                  </a:cubicBezTo>
                  <a:cubicBezTo>
                    <a:pt x="379961" y="595217"/>
                    <a:pt x="388990" y="471964"/>
                    <a:pt x="393457" y="355092"/>
                  </a:cubicBezTo>
                  <a:cubicBezTo>
                    <a:pt x="398589" y="222504"/>
                    <a:pt x="444397" y="105823"/>
                    <a:pt x="408188" y="0"/>
                  </a:cubicBezTo>
                  <a:lnTo>
                    <a:pt x="0" y="90964"/>
                  </a:lnTo>
                  <a:cubicBezTo>
                    <a:pt x="0" y="90964"/>
                    <a:pt x="24710" y="619601"/>
                    <a:pt x="30222" y="683609"/>
                  </a:cubicBezTo>
                  <a:cubicBezTo>
                    <a:pt x="33216" y="733349"/>
                    <a:pt x="39308" y="782841"/>
                    <a:pt x="48469" y="831818"/>
                  </a:cubicBezTo>
                  <a:cubicBezTo>
                    <a:pt x="67477" y="934402"/>
                    <a:pt x="97414" y="1178528"/>
                    <a:pt x="97414" y="1178528"/>
                  </a:cubicBezTo>
                  <a:cubicBezTo>
                    <a:pt x="140561" y="1203674"/>
                    <a:pt x="197204" y="1189768"/>
                    <a:pt x="197204" y="1189768"/>
                  </a:cubicBezTo>
                  <a:cubicBezTo>
                    <a:pt x="197204" y="1189768"/>
                    <a:pt x="194163" y="881063"/>
                    <a:pt x="191311" y="807148"/>
                  </a:cubicBezTo>
                  <a:cubicBezTo>
                    <a:pt x="187985" y="716851"/>
                    <a:pt x="185229" y="723709"/>
                    <a:pt x="185229" y="723709"/>
                  </a:cubicBezTo>
                  <a:lnTo>
                    <a:pt x="198819" y="499110"/>
                  </a:lnTo>
                  <a:lnTo>
                    <a:pt x="207658" y="387286"/>
                  </a:lnTo>
                  <a:cubicBezTo>
                    <a:pt x="207658" y="387286"/>
                    <a:pt x="218967" y="469392"/>
                    <a:pt x="226665" y="542734"/>
                  </a:cubicBezTo>
                  <a:cubicBezTo>
                    <a:pt x="233033" y="606647"/>
                    <a:pt x="248429" y="664464"/>
                    <a:pt x="265631" y="783526"/>
                  </a:cubicBezTo>
                  <a:cubicBezTo>
                    <a:pt x="280552" y="886777"/>
                    <a:pt x="304787" y="1094232"/>
                    <a:pt x="304787" y="1094232"/>
                  </a:cubicBezTo>
                  <a:cubicBezTo>
                    <a:pt x="347934" y="1119473"/>
                    <a:pt x="406572" y="1098518"/>
                    <a:pt x="406572" y="1098518"/>
                  </a:cubicBezTo>
                  <a:cubicBezTo>
                    <a:pt x="406572" y="1098518"/>
                    <a:pt x="421683" y="827627"/>
                    <a:pt x="409993" y="7380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1" name="Google Shape;801;p18">
              <a:extLst>
                <a:ext uri="{FF2B5EF4-FFF2-40B4-BE49-F238E27FC236}">
                  <a16:creationId xmlns:a16="http://schemas.microsoft.com/office/drawing/2014/main" id="{CD8BE6E7-324E-474D-A4A4-496C4F8968E4}"/>
                </a:ext>
              </a:extLst>
            </p:cNvPr>
            <p:cNvSpPr/>
            <p:nvPr/>
          </p:nvSpPr>
          <p:spPr>
            <a:xfrm>
              <a:off x="5874419" y="2560474"/>
              <a:ext cx="305952" cy="491697"/>
            </a:xfrm>
            <a:custGeom>
              <a:avLst/>
              <a:gdLst/>
              <a:ahLst/>
              <a:cxnLst/>
              <a:rect l="l" t="t" r="r" b="b"/>
              <a:pathLst>
                <a:path w="305952" h="491697" extrusionOk="0">
                  <a:moveTo>
                    <a:pt x="288928" y="350842"/>
                  </a:moveTo>
                  <a:cubicBezTo>
                    <a:pt x="257851" y="352366"/>
                    <a:pt x="234756" y="360367"/>
                    <a:pt x="230860" y="350842"/>
                  </a:cubicBezTo>
                  <a:cubicBezTo>
                    <a:pt x="227496" y="334783"/>
                    <a:pt x="225120" y="318523"/>
                    <a:pt x="223732" y="302169"/>
                  </a:cubicBezTo>
                  <a:cubicBezTo>
                    <a:pt x="227343" y="293120"/>
                    <a:pt x="230385" y="283119"/>
                    <a:pt x="230385" y="283119"/>
                  </a:cubicBezTo>
                  <a:cubicBezTo>
                    <a:pt x="269445" y="259021"/>
                    <a:pt x="281800" y="216444"/>
                    <a:pt x="286932" y="167486"/>
                  </a:cubicBezTo>
                  <a:cubicBezTo>
                    <a:pt x="295676" y="83285"/>
                    <a:pt x="250248" y="9656"/>
                    <a:pt x="166329" y="798"/>
                  </a:cubicBezTo>
                  <a:cubicBezTo>
                    <a:pt x="87353" y="-7393"/>
                    <a:pt x="29285" y="48423"/>
                    <a:pt x="13793" y="124623"/>
                  </a:cubicBezTo>
                  <a:cubicBezTo>
                    <a:pt x="5430" y="162723"/>
                    <a:pt x="-11201" y="233589"/>
                    <a:pt x="11323" y="296073"/>
                  </a:cubicBezTo>
                  <a:cubicBezTo>
                    <a:pt x="23867" y="330744"/>
                    <a:pt x="39834" y="358271"/>
                    <a:pt x="56180" y="363605"/>
                  </a:cubicBezTo>
                  <a:cubicBezTo>
                    <a:pt x="71833" y="363205"/>
                    <a:pt x="87448" y="361834"/>
                    <a:pt x="102939" y="359510"/>
                  </a:cubicBezTo>
                  <a:lnTo>
                    <a:pt x="102939" y="359510"/>
                  </a:lnTo>
                  <a:cubicBezTo>
                    <a:pt x="102939" y="359510"/>
                    <a:pt x="107121" y="382941"/>
                    <a:pt x="110067" y="397610"/>
                  </a:cubicBezTo>
                  <a:cubicBezTo>
                    <a:pt x="113013" y="412278"/>
                    <a:pt x="111777" y="420565"/>
                    <a:pt x="82031" y="438948"/>
                  </a:cubicBezTo>
                  <a:cubicBezTo>
                    <a:pt x="52284" y="457331"/>
                    <a:pt x="127079" y="495241"/>
                    <a:pt x="176023" y="491431"/>
                  </a:cubicBezTo>
                  <a:cubicBezTo>
                    <a:pt x="224968" y="487621"/>
                    <a:pt x="279424" y="458951"/>
                    <a:pt x="294440" y="426851"/>
                  </a:cubicBezTo>
                  <a:cubicBezTo>
                    <a:pt x="311262" y="391514"/>
                    <a:pt x="309837" y="349794"/>
                    <a:pt x="288928" y="350842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2" name="Google Shape;802;p18">
              <a:extLst>
                <a:ext uri="{FF2B5EF4-FFF2-40B4-BE49-F238E27FC236}">
                  <a16:creationId xmlns:a16="http://schemas.microsoft.com/office/drawing/2014/main" id="{BDC6A9AF-7266-45BF-94C4-DD2D48A4F9D0}"/>
                </a:ext>
              </a:extLst>
            </p:cNvPr>
            <p:cNvSpPr/>
            <p:nvPr/>
          </p:nvSpPr>
          <p:spPr>
            <a:xfrm>
              <a:off x="5809360" y="2908700"/>
              <a:ext cx="471048" cy="781597"/>
            </a:xfrm>
            <a:custGeom>
              <a:avLst/>
              <a:gdLst/>
              <a:ahLst/>
              <a:cxnLst/>
              <a:rect l="l" t="t" r="r" b="b"/>
              <a:pathLst>
                <a:path w="471048" h="781597" extrusionOk="0">
                  <a:moveTo>
                    <a:pt x="308559" y="7283"/>
                  </a:moveTo>
                  <a:cubicBezTo>
                    <a:pt x="317113" y="28715"/>
                    <a:pt x="295254" y="54908"/>
                    <a:pt x="236901" y="73482"/>
                  </a:cubicBezTo>
                  <a:cubicBezTo>
                    <a:pt x="178547" y="92056"/>
                    <a:pt x="173225" y="68243"/>
                    <a:pt x="173225" y="68243"/>
                  </a:cubicBezTo>
                  <a:cubicBezTo>
                    <a:pt x="173225" y="68243"/>
                    <a:pt x="87691" y="107296"/>
                    <a:pt x="59750" y="126822"/>
                  </a:cubicBezTo>
                  <a:cubicBezTo>
                    <a:pt x="24776" y="151396"/>
                    <a:pt x="9190" y="222072"/>
                    <a:pt x="4438" y="342373"/>
                  </a:cubicBezTo>
                  <a:cubicBezTo>
                    <a:pt x="-979" y="481152"/>
                    <a:pt x="-1454" y="686987"/>
                    <a:pt x="3107" y="722516"/>
                  </a:cubicBezTo>
                  <a:cubicBezTo>
                    <a:pt x="3107" y="722516"/>
                    <a:pt x="68589" y="787952"/>
                    <a:pt x="152412" y="781094"/>
                  </a:cubicBezTo>
                  <a:cubicBezTo>
                    <a:pt x="236235" y="774236"/>
                    <a:pt x="377272" y="699846"/>
                    <a:pt x="411485" y="642410"/>
                  </a:cubicBezTo>
                  <a:cubicBezTo>
                    <a:pt x="410535" y="520776"/>
                    <a:pt x="396279" y="500964"/>
                    <a:pt x="415952" y="430860"/>
                  </a:cubicBezTo>
                  <a:cubicBezTo>
                    <a:pt x="461000" y="270364"/>
                    <a:pt x="484664" y="204641"/>
                    <a:pt x="462806" y="97961"/>
                  </a:cubicBezTo>
                  <a:cubicBezTo>
                    <a:pt x="444748" y="10045"/>
                    <a:pt x="419469" y="-813"/>
                    <a:pt x="384875" y="44"/>
                  </a:cubicBezTo>
                  <a:cubicBezTo>
                    <a:pt x="359329" y="1092"/>
                    <a:pt x="333849" y="3511"/>
                    <a:pt x="308559" y="7283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3" name="Google Shape;803;p18">
              <a:extLst>
                <a:ext uri="{FF2B5EF4-FFF2-40B4-BE49-F238E27FC236}">
                  <a16:creationId xmlns:a16="http://schemas.microsoft.com/office/drawing/2014/main" id="{CF0D93AF-D851-47D2-BDEB-B68DAEAE0AEB}"/>
                </a:ext>
              </a:extLst>
            </p:cNvPr>
            <p:cNvSpPr/>
            <p:nvPr/>
          </p:nvSpPr>
          <p:spPr>
            <a:xfrm>
              <a:off x="5348856" y="3006224"/>
              <a:ext cx="597933" cy="466333"/>
            </a:xfrm>
            <a:custGeom>
              <a:avLst/>
              <a:gdLst/>
              <a:ahLst/>
              <a:cxnLst/>
              <a:rect l="l" t="t" r="r" b="b"/>
              <a:pathLst>
                <a:path w="597933" h="466333" extrusionOk="0">
                  <a:moveTo>
                    <a:pt x="333219" y="359529"/>
                  </a:moveTo>
                  <a:cubicBezTo>
                    <a:pt x="402027" y="376960"/>
                    <a:pt x="418183" y="333431"/>
                    <a:pt x="427212" y="297522"/>
                  </a:cubicBezTo>
                  <a:cubicBezTo>
                    <a:pt x="449070" y="210368"/>
                    <a:pt x="460855" y="131691"/>
                    <a:pt x="477202" y="82161"/>
                  </a:cubicBezTo>
                  <a:cubicBezTo>
                    <a:pt x="496209" y="23868"/>
                    <a:pt x="516547" y="14629"/>
                    <a:pt x="544773" y="3199"/>
                  </a:cubicBezTo>
                  <a:cubicBezTo>
                    <a:pt x="578037" y="-10136"/>
                    <a:pt x="606548" y="17963"/>
                    <a:pt x="595524" y="92258"/>
                  </a:cubicBezTo>
                  <a:cubicBezTo>
                    <a:pt x="582408" y="180078"/>
                    <a:pt x="565302" y="241705"/>
                    <a:pt x="532513" y="345623"/>
                  </a:cubicBezTo>
                  <a:cubicBezTo>
                    <a:pt x="523960" y="372769"/>
                    <a:pt x="504763" y="420966"/>
                    <a:pt x="476061" y="444302"/>
                  </a:cubicBezTo>
                  <a:cubicBezTo>
                    <a:pt x="440517" y="472877"/>
                    <a:pt x="387106" y="471829"/>
                    <a:pt x="306228" y="451636"/>
                  </a:cubicBezTo>
                  <a:cubicBezTo>
                    <a:pt x="271730" y="443064"/>
                    <a:pt x="233905" y="422394"/>
                    <a:pt x="168708" y="391915"/>
                  </a:cubicBezTo>
                  <a:cubicBezTo>
                    <a:pt x="151222" y="383723"/>
                    <a:pt x="137536" y="378294"/>
                    <a:pt x="103988" y="362577"/>
                  </a:cubicBezTo>
                  <a:cubicBezTo>
                    <a:pt x="70439" y="346861"/>
                    <a:pt x="35370" y="320667"/>
                    <a:pt x="17789" y="295141"/>
                  </a:cubicBezTo>
                  <a:cubicBezTo>
                    <a:pt x="207" y="269614"/>
                    <a:pt x="-2169" y="257041"/>
                    <a:pt x="1442" y="251707"/>
                  </a:cubicBezTo>
                  <a:cubicBezTo>
                    <a:pt x="5909" y="244372"/>
                    <a:pt x="13892" y="245991"/>
                    <a:pt x="23301" y="256755"/>
                  </a:cubicBezTo>
                  <a:cubicBezTo>
                    <a:pt x="36872" y="274966"/>
                    <a:pt x="53646" y="290521"/>
                    <a:pt x="72815" y="302665"/>
                  </a:cubicBezTo>
                  <a:cubicBezTo>
                    <a:pt x="72815" y="302665"/>
                    <a:pt x="51052" y="280186"/>
                    <a:pt x="39267" y="265613"/>
                  </a:cubicBezTo>
                  <a:cubicBezTo>
                    <a:pt x="28727" y="252611"/>
                    <a:pt x="19974" y="238267"/>
                    <a:pt x="13227" y="222941"/>
                  </a:cubicBezTo>
                  <a:cubicBezTo>
                    <a:pt x="7049" y="208082"/>
                    <a:pt x="19879" y="187889"/>
                    <a:pt x="29573" y="198462"/>
                  </a:cubicBezTo>
                  <a:cubicBezTo>
                    <a:pt x="39267" y="209034"/>
                    <a:pt x="44019" y="219893"/>
                    <a:pt x="61791" y="241229"/>
                  </a:cubicBezTo>
                  <a:cubicBezTo>
                    <a:pt x="71124" y="252649"/>
                    <a:pt x="81816" y="262889"/>
                    <a:pt x="93629" y="271709"/>
                  </a:cubicBezTo>
                  <a:cubicBezTo>
                    <a:pt x="82595" y="256641"/>
                    <a:pt x="72777" y="240714"/>
                    <a:pt x="64262" y="224084"/>
                  </a:cubicBezTo>
                  <a:cubicBezTo>
                    <a:pt x="56649" y="211158"/>
                    <a:pt x="52924" y="196309"/>
                    <a:pt x="53523" y="181317"/>
                  </a:cubicBezTo>
                  <a:cubicBezTo>
                    <a:pt x="53998" y="173506"/>
                    <a:pt x="65022" y="164267"/>
                    <a:pt x="75286" y="179031"/>
                  </a:cubicBezTo>
                  <a:cubicBezTo>
                    <a:pt x="84790" y="192270"/>
                    <a:pt x="90682" y="213035"/>
                    <a:pt x="112256" y="235609"/>
                  </a:cubicBezTo>
                  <a:cubicBezTo>
                    <a:pt x="127937" y="251897"/>
                    <a:pt x="141338" y="261327"/>
                    <a:pt x="141718" y="256755"/>
                  </a:cubicBezTo>
                  <a:cubicBezTo>
                    <a:pt x="142098" y="252183"/>
                    <a:pt x="132214" y="243324"/>
                    <a:pt x="126607" y="224274"/>
                  </a:cubicBezTo>
                  <a:cubicBezTo>
                    <a:pt x="121000" y="205224"/>
                    <a:pt x="126607" y="185127"/>
                    <a:pt x="137156" y="182936"/>
                  </a:cubicBezTo>
                  <a:cubicBezTo>
                    <a:pt x="147705" y="180745"/>
                    <a:pt x="145614" y="181317"/>
                    <a:pt x="153978" y="199128"/>
                  </a:cubicBezTo>
                  <a:cubicBezTo>
                    <a:pt x="162341" y="216940"/>
                    <a:pt x="175361" y="230085"/>
                    <a:pt x="185245" y="256278"/>
                  </a:cubicBezTo>
                  <a:cubicBezTo>
                    <a:pt x="190634" y="274624"/>
                    <a:pt x="200423" y="291369"/>
                    <a:pt x="213757" y="305047"/>
                  </a:cubicBezTo>
                  <a:cubicBezTo>
                    <a:pt x="230483" y="323144"/>
                    <a:pt x="267833" y="343051"/>
                    <a:pt x="333219" y="359529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4" name="Google Shape;804;p18">
              <a:extLst>
                <a:ext uri="{FF2B5EF4-FFF2-40B4-BE49-F238E27FC236}">
                  <a16:creationId xmlns:a16="http://schemas.microsoft.com/office/drawing/2014/main" id="{B03DA64E-E448-49DE-8279-C2BD16BB9B6B}"/>
                </a:ext>
              </a:extLst>
            </p:cNvPr>
            <p:cNvSpPr/>
            <p:nvPr/>
          </p:nvSpPr>
          <p:spPr>
            <a:xfrm>
              <a:off x="5786047" y="2996305"/>
              <a:ext cx="182011" cy="266828"/>
            </a:xfrm>
            <a:custGeom>
              <a:avLst/>
              <a:gdLst/>
              <a:ahLst/>
              <a:cxnLst/>
              <a:rect l="l" t="t" r="r" b="b"/>
              <a:pathLst>
                <a:path w="182011" h="266828" extrusionOk="0">
                  <a:moveTo>
                    <a:pt x="133053" y="1213"/>
                  </a:moveTo>
                  <a:cubicBezTo>
                    <a:pt x="87150" y="-5550"/>
                    <a:pt x="54742" y="15119"/>
                    <a:pt x="34404" y="84937"/>
                  </a:cubicBezTo>
                  <a:cubicBezTo>
                    <a:pt x="14066" y="154755"/>
                    <a:pt x="0" y="211905"/>
                    <a:pt x="0" y="211905"/>
                  </a:cubicBezTo>
                  <a:cubicBezTo>
                    <a:pt x="18143" y="238194"/>
                    <a:pt x="45666" y="256502"/>
                    <a:pt x="76886" y="263055"/>
                  </a:cubicBezTo>
                  <a:cubicBezTo>
                    <a:pt x="131818" y="276390"/>
                    <a:pt x="151586" y="250101"/>
                    <a:pt x="151586" y="250101"/>
                  </a:cubicBezTo>
                  <a:cubicBezTo>
                    <a:pt x="151586" y="250101"/>
                    <a:pt x="166886" y="177044"/>
                    <a:pt x="176390" y="127323"/>
                  </a:cubicBezTo>
                  <a:cubicBezTo>
                    <a:pt x="185894" y="77603"/>
                    <a:pt x="189886" y="9594"/>
                    <a:pt x="133053" y="1213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5" name="Google Shape;805;p18">
              <a:extLst>
                <a:ext uri="{FF2B5EF4-FFF2-40B4-BE49-F238E27FC236}">
                  <a16:creationId xmlns:a16="http://schemas.microsoft.com/office/drawing/2014/main" id="{E3ECB126-4855-4A10-9FB0-A123230DF56F}"/>
                </a:ext>
              </a:extLst>
            </p:cNvPr>
            <p:cNvSpPr/>
            <p:nvPr/>
          </p:nvSpPr>
          <p:spPr>
            <a:xfrm>
              <a:off x="5873666" y="2538911"/>
              <a:ext cx="296973" cy="328330"/>
            </a:xfrm>
            <a:custGeom>
              <a:avLst/>
              <a:gdLst/>
              <a:ahLst/>
              <a:cxnLst/>
              <a:rect l="l" t="t" r="r" b="b"/>
              <a:pathLst>
                <a:path w="296973" h="328330" extrusionOk="0">
                  <a:moveTo>
                    <a:pt x="16733" y="135613"/>
                  </a:moveTo>
                  <a:cubicBezTo>
                    <a:pt x="16733" y="135613"/>
                    <a:pt x="-55876" y="25123"/>
                    <a:pt x="101411" y="2263"/>
                  </a:cubicBezTo>
                  <a:cubicBezTo>
                    <a:pt x="214791" y="-13930"/>
                    <a:pt x="287686" y="59413"/>
                    <a:pt x="296049" y="138280"/>
                  </a:cubicBezTo>
                  <a:cubicBezTo>
                    <a:pt x="304127" y="214003"/>
                    <a:pt x="257558" y="292585"/>
                    <a:pt x="224010" y="323827"/>
                  </a:cubicBezTo>
                  <a:cubicBezTo>
                    <a:pt x="207664" y="329637"/>
                    <a:pt x="172309" y="333352"/>
                    <a:pt x="126026" y="311920"/>
                  </a:cubicBezTo>
                  <a:cubicBezTo>
                    <a:pt x="124144" y="291308"/>
                    <a:pt x="123413" y="270611"/>
                    <a:pt x="123840" y="249913"/>
                  </a:cubicBezTo>
                  <a:cubicBezTo>
                    <a:pt x="123840" y="249913"/>
                    <a:pt x="179152" y="133612"/>
                    <a:pt x="16733" y="135613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6" name="Google Shape;806;p18">
              <a:extLst>
                <a:ext uri="{FF2B5EF4-FFF2-40B4-BE49-F238E27FC236}">
                  <a16:creationId xmlns:a16="http://schemas.microsoft.com/office/drawing/2014/main" id="{A26FBA9C-6911-4EFD-8BB9-D6AB8BE1E99D}"/>
                </a:ext>
              </a:extLst>
            </p:cNvPr>
            <p:cNvSpPr/>
            <p:nvPr/>
          </p:nvSpPr>
          <p:spPr>
            <a:xfrm>
              <a:off x="4255557" y="1955958"/>
              <a:ext cx="334153" cy="334898"/>
            </a:xfrm>
            <a:custGeom>
              <a:avLst/>
              <a:gdLst/>
              <a:ahLst/>
              <a:cxnLst/>
              <a:rect l="l" t="t" r="r" b="b"/>
              <a:pathLst>
                <a:path w="334153" h="334898" extrusionOk="0">
                  <a:moveTo>
                    <a:pt x="334153" y="167449"/>
                  </a:moveTo>
                  <a:cubicBezTo>
                    <a:pt x="334153" y="259929"/>
                    <a:pt x="259351" y="334899"/>
                    <a:pt x="167077" y="334899"/>
                  </a:cubicBezTo>
                  <a:cubicBezTo>
                    <a:pt x="74803" y="334899"/>
                    <a:pt x="0" y="259929"/>
                    <a:pt x="0" y="167449"/>
                  </a:cubicBezTo>
                  <a:cubicBezTo>
                    <a:pt x="0" y="74970"/>
                    <a:pt x="74803" y="0"/>
                    <a:pt x="167077" y="0"/>
                  </a:cubicBezTo>
                  <a:cubicBezTo>
                    <a:pt x="259351" y="0"/>
                    <a:pt x="334153" y="74970"/>
                    <a:pt x="334153" y="167449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" name="Google Shape;807;p18">
              <a:extLst>
                <a:ext uri="{FF2B5EF4-FFF2-40B4-BE49-F238E27FC236}">
                  <a16:creationId xmlns:a16="http://schemas.microsoft.com/office/drawing/2014/main" id="{83278654-305A-4F73-BAE9-2344980962EE}"/>
                </a:ext>
              </a:extLst>
            </p:cNvPr>
            <p:cNvSpPr/>
            <p:nvPr/>
          </p:nvSpPr>
          <p:spPr>
            <a:xfrm>
              <a:off x="4197204" y="1948719"/>
              <a:ext cx="450859" cy="225075"/>
            </a:xfrm>
            <a:custGeom>
              <a:avLst/>
              <a:gdLst/>
              <a:ahLst/>
              <a:cxnLst/>
              <a:rect l="l" t="t" r="r" b="b"/>
              <a:pathLst>
                <a:path w="450859" h="225075" extrusionOk="0">
                  <a:moveTo>
                    <a:pt x="225430" y="225076"/>
                  </a:moveTo>
                  <a:cubicBezTo>
                    <a:pt x="162040" y="225076"/>
                    <a:pt x="100645" y="210598"/>
                    <a:pt x="57023" y="185357"/>
                  </a:cubicBezTo>
                  <a:cubicBezTo>
                    <a:pt x="20623" y="164306"/>
                    <a:pt x="0" y="137732"/>
                    <a:pt x="0" y="112586"/>
                  </a:cubicBezTo>
                  <a:cubicBezTo>
                    <a:pt x="0" y="87440"/>
                    <a:pt x="20908" y="60865"/>
                    <a:pt x="57023" y="39719"/>
                  </a:cubicBezTo>
                  <a:cubicBezTo>
                    <a:pt x="100645" y="14478"/>
                    <a:pt x="161564" y="0"/>
                    <a:pt x="225430" y="0"/>
                  </a:cubicBezTo>
                  <a:cubicBezTo>
                    <a:pt x="289295" y="0"/>
                    <a:pt x="350120" y="14478"/>
                    <a:pt x="393837" y="39719"/>
                  </a:cubicBezTo>
                  <a:cubicBezTo>
                    <a:pt x="430237" y="60865"/>
                    <a:pt x="450860" y="87344"/>
                    <a:pt x="450860" y="112586"/>
                  </a:cubicBezTo>
                  <a:cubicBezTo>
                    <a:pt x="450860" y="137827"/>
                    <a:pt x="430046" y="164306"/>
                    <a:pt x="393837" y="185357"/>
                  </a:cubicBezTo>
                  <a:cubicBezTo>
                    <a:pt x="350500" y="210598"/>
                    <a:pt x="288725" y="225076"/>
                    <a:pt x="225430" y="225076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" name="Google Shape;808;p18">
              <a:extLst>
                <a:ext uri="{FF2B5EF4-FFF2-40B4-BE49-F238E27FC236}">
                  <a16:creationId xmlns:a16="http://schemas.microsoft.com/office/drawing/2014/main" id="{411739D7-116C-49DB-B3DE-65D63E3979B6}"/>
                </a:ext>
              </a:extLst>
            </p:cNvPr>
            <p:cNvSpPr/>
            <p:nvPr/>
          </p:nvSpPr>
          <p:spPr>
            <a:xfrm>
              <a:off x="4129822" y="1856041"/>
              <a:ext cx="585718" cy="291750"/>
            </a:xfrm>
            <a:custGeom>
              <a:avLst/>
              <a:gdLst/>
              <a:ahLst/>
              <a:cxnLst/>
              <a:rect l="l" t="t" r="r" b="b"/>
              <a:pathLst>
                <a:path w="585718" h="291750" extrusionOk="0">
                  <a:moveTo>
                    <a:pt x="292812" y="291751"/>
                  </a:moveTo>
                  <a:cubicBezTo>
                    <a:pt x="210699" y="291751"/>
                    <a:pt x="131247" y="272701"/>
                    <a:pt x="74225" y="240221"/>
                  </a:cubicBezTo>
                  <a:cubicBezTo>
                    <a:pt x="26706" y="212884"/>
                    <a:pt x="0" y="178499"/>
                    <a:pt x="0" y="145828"/>
                  </a:cubicBezTo>
                  <a:cubicBezTo>
                    <a:pt x="0" y="113157"/>
                    <a:pt x="26991" y="79153"/>
                    <a:pt x="74225" y="51530"/>
                  </a:cubicBezTo>
                  <a:cubicBezTo>
                    <a:pt x="130772" y="18764"/>
                    <a:pt x="210319" y="0"/>
                    <a:pt x="292812" y="0"/>
                  </a:cubicBezTo>
                  <a:cubicBezTo>
                    <a:pt x="375305" y="0"/>
                    <a:pt x="454376" y="19050"/>
                    <a:pt x="511399" y="51530"/>
                  </a:cubicBezTo>
                  <a:cubicBezTo>
                    <a:pt x="558918" y="78772"/>
                    <a:pt x="585718" y="113157"/>
                    <a:pt x="585718" y="145828"/>
                  </a:cubicBezTo>
                  <a:cubicBezTo>
                    <a:pt x="585718" y="178499"/>
                    <a:pt x="558633" y="212503"/>
                    <a:pt x="511399" y="240221"/>
                  </a:cubicBezTo>
                  <a:cubicBezTo>
                    <a:pt x="454471" y="272987"/>
                    <a:pt x="374924" y="291751"/>
                    <a:pt x="292812" y="291751"/>
                  </a:cubicBezTo>
                  <a:close/>
                </a:path>
              </a:pathLst>
            </a:custGeom>
            <a:solidFill>
              <a:srgbClr val="B7C0E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" name="Google Shape;809;p18">
              <a:extLst>
                <a:ext uri="{FF2B5EF4-FFF2-40B4-BE49-F238E27FC236}">
                  <a16:creationId xmlns:a16="http://schemas.microsoft.com/office/drawing/2014/main" id="{1D77ED06-3A5B-4C6D-891C-2D672C7923E5}"/>
                </a:ext>
              </a:extLst>
            </p:cNvPr>
            <p:cNvSpPr/>
            <p:nvPr/>
          </p:nvSpPr>
          <p:spPr>
            <a:xfrm>
              <a:off x="4129822" y="1818703"/>
              <a:ext cx="585718" cy="291750"/>
            </a:xfrm>
            <a:custGeom>
              <a:avLst/>
              <a:gdLst/>
              <a:ahLst/>
              <a:cxnLst/>
              <a:rect l="l" t="t" r="r" b="b"/>
              <a:pathLst>
                <a:path w="585718" h="291750" extrusionOk="0">
                  <a:moveTo>
                    <a:pt x="292812" y="291751"/>
                  </a:moveTo>
                  <a:cubicBezTo>
                    <a:pt x="210699" y="291751"/>
                    <a:pt x="131247" y="272701"/>
                    <a:pt x="74225" y="240221"/>
                  </a:cubicBezTo>
                  <a:cubicBezTo>
                    <a:pt x="26706" y="212979"/>
                    <a:pt x="0" y="178498"/>
                    <a:pt x="0" y="145923"/>
                  </a:cubicBezTo>
                  <a:cubicBezTo>
                    <a:pt x="0" y="113347"/>
                    <a:pt x="26991" y="79248"/>
                    <a:pt x="74225" y="51530"/>
                  </a:cubicBezTo>
                  <a:cubicBezTo>
                    <a:pt x="130772" y="18764"/>
                    <a:pt x="210319" y="0"/>
                    <a:pt x="292812" y="0"/>
                  </a:cubicBezTo>
                  <a:cubicBezTo>
                    <a:pt x="375305" y="0"/>
                    <a:pt x="454376" y="19050"/>
                    <a:pt x="511399" y="51530"/>
                  </a:cubicBezTo>
                  <a:cubicBezTo>
                    <a:pt x="558918" y="78867"/>
                    <a:pt x="585718" y="113252"/>
                    <a:pt x="585718" y="145923"/>
                  </a:cubicBezTo>
                  <a:cubicBezTo>
                    <a:pt x="585718" y="178594"/>
                    <a:pt x="558633" y="212598"/>
                    <a:pt x="511399" y="240221"/>
                  </a:cubicBezTo>
                  <a:cubicBezTo>
                    <a:pt x="454471" y="272987"/>
                    <a:pt x="374924" y="291751"/>
                    <a:pt x="292812" y="291751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" name="Google Shape;810;p18">
              <a:extLst>
                <a:ext uri="{FF2B5EF4-FFF2-40B4-BE49-F238E27FC236}">
                  <a16:creationId xmlns:a16="http://schemas.microsoft.com/office/drawing/2014/main" id="{9BD2FD91-02FD-40C2-AFF3-23844D17E336}"/>
                </a:ext>
              </a:extLst>
            </p:cNvPr>
            <p:cNvSpPr/>
            <p:nvPr/>
          </p:nvSpPr>
          <p:spPr>
            <a:xfrm>
              <a:off x="4066052" y="1720024"/>
              <a:ext cx="713163" cy="355663"/>
            </a:xfrm>
            <a:custGeom>
              <a:avLst/>
              <a:gdLst/>
              <a:ahLst/>
              <a:cxnLst/>
              <a:rect l="l" t="t" r="r" b="b"/>
              <a:pathLst>
                <a:path w="713163" h="355663" extrusionOk="0">
                  <a:moveTo>
                    <a:pt x="356582" y="355663"/>
                  </a:moveTo>
                  <a:cubicBezTo>
                    <a:pt x="256412" y="355663"/>
                    <a:pt x="159474" y="332804"/>
                    <a:pt x="90476" y="292894"/>
                  </a:cubicBezTo>
                  <a:cubicBezTo>
                    <a:pt x="32978" y="259556"/>
                    <a:pt x="0" y="217646"/>
                    <a:pt x="0" y="177832"/>
                  </a:cubicBezTo>
                  <a:cubicBezTo>
                    <a:pt x="0" y="138017"/>
                    <a:pt x="32978" y="96107"/>
                    <a:pt x="90476" y="62865"/>
                  </a:cubicBezTo>
                  <a:cubicBezTo>
                    <a:pt x="159474" y="22955"/>
                    <a:pt x="256412" y="0"/>
                    <a:pt x="356582" y="0"/>
                  </a:cubicBezTo>
                  <a:cubicBezTo>
                    <a:pt x="456752" y="0"/>
                    <a:pt x="553596" y="22955"/>
                    <a:pt x="622688" y="62865"/>
                  </a:cubicBezTo>
                  <a:cubicBezTo>
                    <a:pt x="680186" y="96107"/>
                    <a:pt x="713164" y="138017"/>
                    <a:pt x="713164" y="177832"/>
                  </a:cubicBezTo>
                  <a:cubicBezTo>
                    <a:pt x="713164" y="217646"/>
                    <a:pt x="680186" y="259556"/>
                    <a:pt x="622688" y="292894"/>
                  </a:cubicBezTo>
                  <a:cubicBezTo>
                    <a:pt x="553690" y="332804"/>
                    <a:pt x="456657" y="355663"/>
                    <a:pt x="356582" y="355663"/>
                  </a:cubicBezTo>
                  <a:close/>
                </a:path>
              </a:pathLst>
            </a:custGeom>
            <a:solidFill>
              <a:srgbClr val="B7C0E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" name="Google Shape;811;p18">
              <a:extLst>
                <a:ext uri="{FF2B5EF4-FFF2-40B4-BE49-F238E27FC236}">
                  <a16:creationId xmlns:a16="http://schemas.microsoft.com/office/drawing/2014/main" id="{298299EB-338F-4EC6-BF64-A3E78287A431}"/>
                </a:ext>
              </a:extLst>
            </p:cNvPr>
            <p:cNvSpPr/>
            <p:nvPr/>
          </p:nvSpPr>
          <p:spPr>
            <a:xfrm>
              <a:off x="4066052" y="1674590"/>
              <a:ext cx="713163" cy="355568"/>
            </a:xfrm>
            <a:custGeom>
              <a:avLst/>
              <a:gdLst/>
              <a:ahLst/>
              <a:cxnLst/>
              <a:rect l="l" t="t" r="r" b="b"/>
              <a:pathLst>
                <a:path w="713163" h="355568" extrusionOk="0">
                  <a:moveTo>
                    <a:pt x="356582" y="355568"/>
                  </a:moveTo>
                  <a:cubicBezTo>
                    <a:pt x="256412" y="355568"/>
                    <a:pt x="159474" y="332708"/>
                    <a:pt x="90476" y="292799"/>
                  </a:cubicBezTo>
                  <a:cubicBezTo>
                    <a:pt x="32978" y="259556"/>
                    <a:pt x="0" y="217551"/>
                    <a:pt x="0" y="177737"/>
                  </a:cubicBezTo>
                  <a:cubicBezTo>
                    <a:pt x="0" y="137922"/>
                    <a:pt x="32978" y="96012"/>
                    <a:pt x="90476" y="62770"/>
                  </a:cubicBezTo>
                  <a:cubicBezTo>
                    <a:pt x="159474" y="22860"/>
                    <a:pt x="256412" y="0"/>
                    <a:pt x="356582" y="0"/>
                  </a:cubicBezTo>
                  <a:cubicBezTo>
                    <a:pt x="456752" y="0"/>
                    <a:pt x="553596" y="22860"/>
                    <a:pt x="622688" y="62770"/>
                  </a:cubicBezTo>
                  <a:cubicBezTo>
                    <a:pt x="680186" y="96012"/>
                    <a:pt x="713164" y="138017"/>
                    <a:pt x="713164" y="177832"/>
                  </a:cubicBezTo>
                  <a:cubicBezTo>
                    <a:pt x="713164" y="217646"/>
                    <a:pt x="680186" y="259556"/>
                    <a:pt x="622688" y="292799"/>
                  </a:cubicBezTo>
                  <a:cubicBezTo>
                    <a:pt x="553690" y="332708"/>
                    <a:pt x="456657" y="355568"/>
                    <a:pt x="356582" y="355568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" name="Google Shape;812;p18">
              <a:extLst>
                <a:ext uri="{FF2B5EF4-FFF2-40B4-BE49-F238E27FC236}">
                  <a16:creationId xmlns:a16="http://schemas.microsoft.com/office/drawing/2014/main" id="{D068B1DD-AA3A-481F-9955-BD474E01CF92}"/>
                </a:ext>
              </a:extLst>
            </p:cNvPr>
            <p:cNvSpPr/>
            <p:nvPr/>
          </p:nvSpPr>
          <p:spPr>
            <a:xfrm>
              <a:off x="4013211" y="1574958"/>
              <a:ext cx="818751" cy="408241"/>
            </a:xfrm>
            <a:custGeom>
              <a:avLst/>
              <a:gdLst/>
              <a:ahLst/>
              <a:cxnLst/>
              <a:rect l="l" t="t" r="r" b="b"/>
              <a:pathLst>
                <a:path w="818751" h="408241" extrusionOk="0">
                  <a:moveTo>
                    <a:pt x="409423" y="408242"/>
                  </a:moveTo>
                  <a:cubicBezTo>
                    <a:pt x="294427" y="408242"/>
                    <a:pt x="183138" y="382048"/>
                    <a:pt x="103876" y="336137"/>
                  </a:cubicBezTo>
                  <a:cubicBezTo>
                    <a:pt x="37825" y="298037"/>
                    <a:pt x="0" y="249841"/>
                    <a:pt x="0" y="204121"/>
                  </a:cubicBezTo>
                  <a:cubicBezTo>
                    <a:pt x="0" y="158401"/>
                    <a:pt x="38015" y="110299"/>
                    <a:pt x="103876" y="72009"/>
                  </a:cubicBezTo>
                  <a:cubicBezTo>
                    <a:pt x="183043" y="26194"/>
                    <a:pt x="294427" y="0"/>
                    <a:pt x="409328" y="0"/>
                  </a:cubicBezTo>
                  <a:cubicBezTo>
                    <a:pt x="524229" y="0"/>
                    <a:pt x="635708" y="26194"/>
                    <a:pt x="714875" y="72104"/>
                  </a:cubicBezTo>
                  <a:cubicBezTo>
                    <a:pt x="780926" y="110204"/>
                    <a:pt x="818751" y="158401"/>
                    <a:pt x="818751" y="204121"/>
                  </a:cubicBezTo>
                  <a:cubicBezTo>
                    <a:pt x="818751" y="249841"/>
                    <a:pt x="780736" y="297942"/>
                    <a:pt x="714875" y="336137"/>
                  </a:cubicBezTo>
                  <a:cubicBezTo>
                    <a:pt x="635708" y="382048"/>
                    <a:pt x="524324" y="408242"/>
                    <a:pt x="409423" y="408242"/>
                  </a:cubicBezTo>
                  <a:close/>
                </a:path>
              </a:pathLst>
            </a:custGeom>
            <a:solidFill>
              <a:srgbClr val="B7C0E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" name="Google Shape;813;p18">
              <a:extLst>
                <a:ext uri="{FF2B5EF4-FFF2-40B4-BE49-F238E27FC236}">
                  <a16:creationId xmlns:a16="http://schemas.microsoft.com/office/drawing/2014/main" id="{AE037EA8-FB83-40F5-9D53-6F8D7327B534}"/>
                </a:ext>
              </a:extLst>
            </p:cNvPr>
            <p:cNvSpPr/>
            <p:nvPr/>
          </p:nvSpPr>
          <p:spPr>
            <a:xfrm>
              <a:off x="4013211" y="1522666"/>
              <a:ext cx="818751" cy="408336"/>
            </a:xfrm>
            <a:custGeom>
              <a:avLst/>
              <a:gdLst/>
              <a:ahLst/>
              <a:cxnLst/>
              <a:rect l="l" t="t" r="r" b="b"/>
              <a:pathLst>
                <a:path w="818751" h="408336" extrusionOk="0">
                  <a:moveTo>
                    <a:pt x="409423" y="408337"/>
                  </a:moveTo>
                  <a:cubicBezTo>
                    <a:pt x="294427" y="408337"/>
                    <a:pt x="183138" y="382048"/>
                    <a:pt x="103876" y="336233"/>
                  </a:cubicBezTo>
                  <a:cubicBezTo>
                    <a:pt x="37825" y="298133"/>
                    <a:pt x="0" y="249936"/>
                    <a:pt x="0" y="204216"/>
                  </a:cubicBezTo>
                  <a:cubicBezTo>
                    <a:pt x="0" y="158496"/>
                    <a:pt x="38015" y="110300"/>
                    <a:pt x="103876" y="72104"/>
                  </a:cubicBezTo>
                  <a:cubicBezTo>
                    <a:pt x="183043" y="26289"/>
                    <a:pt x="294427" y="0"/>
                    <a:pt x="409328" y="0"/>
                  </a:cubicBezTo>
                  <a:cubicBezTo>
                    <a:pt x="524229" y="0"/>
                    <a:pt x="635708" y="26289"/>
                    <a:pt x="714875" y="72104"/>
                  </a:cubicBezTo>
                  <a:cubicBezTo>
                    <a:pt x="780926" y="110204"/>
                    <a:pt x="818751" y="158496"/>
                    <a:pt x="818751" y="204216"/>
                  </a:cubicBezTo>
                  <a:cubicBezTo>
                    <a:pt x="818751" y="249936"/>
                    <a:pt x="780736" y="298037"/>
                    <a:pt x="714875" y="336233"/>
                  </a:cubicBezTo>
                  <a:cubicBezTo>
                    <a:pt x="635708" y="382334"/>
                    <a:pt x="524324" y="408337"/>
                    <a:pt x="409423" y="408337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" name="Google Shape;814;p18">
              <a:extLst>
                <a:ext uri="{FF2B5EF4-FFF2-40B4-BE49-F238E27FC236}">
                  <a16:creationId xmlns:a16="http://schemas.microsoft.com/office/drawing/2014/main" id="{A24A85D2-7190-48B3-843F-6558D1BF15EA}"/>
                </a:ext>
              </a:extLst>
            </p:cNvPr>
            <p:cNvSpPr/>
            <p:nvPr/>
          </p:nvSpPr>
          <p:spPr>
            <a:xfrm>
              <a:off x="3962270" y="1359312"/>
              <a:ext cx="920726" cy="532828"/>
            </a:xfrm>
            <a:custGeom>
              <a:avLst/>
              <a:gdLst/>
              <a:ahLst/>
              <a:cxnLst/>
              <a:rect l="l" t="t" r="r" b="b"/>
              <a:pathLst>
                <a:path w="920726" h="532828" extrusionOk="0">
                  <a:moveTo>
                    <a:pt x="920727" y="266414"/>
                  </a:moveTo>
                  <a:cubicBezTo>
                    <a:pt x="920727" y="413551"/>
                    <a:pt x="714615" y="532828"/>
                    <a:pt x="460363" y="532828"/>
                  </a:cubicBezTo>
                  <a:cubicBezTo>
                    <a:pt x="206112" y="532828"/>
                    <a:pt x="0" y="413551"/>
                    <a:pt x="0" y="266414"/>
                  </a:cubicBezTo>
                  <a:cubicBezTo>
                    <a:pt x="0" y="119278"/>
                    <a:pt x="206112" y="0"/>
                    <a:pt x="460363" y="0"/>
                  </a:cubicBezTo>
                  <a:cubicBezTo>
                    <a:pt x="714615" y="0"/>
                    <a:pt x="920727" y="119278"/>
                    <a:pt x="920727" y="266414"/>
                  </a:cubicBezTo>
                  <a:close/>
                </a:path>
              </a:pathLst>
            </a:custGeom>
            <a:solidFill>
              <a:srgbClr val="FFDF5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" name="Google Shape;815;p18">
              <a:extLst>
                <a:ext uri="{FF2B5EF4-FFF2-40B4-BE49-F238E27FC236}">
                  <a16:creationId xmlns:a16="http://schemas.microsoft.com/office/drawing/2014/main" id="{772117AC-D691-4693-A7AC-97E05B8A7DCB}"/>
                </a:ext>
              </a:extLst>
            </p:cNvPr>
            <p:cNvSpPr/>
            <p:nvPr/>
          </p:nvSpPr>
          <p:spPr>
            <a:xfrm>
              <a:off x="4264396" y="969264"/>
              <a:ext cx="40771" cy="635222"/>
            </a:xfrm>
            <a:custGeom>
              <a:avLst/>
              <a:gdLst/>
              <a:ahLst/>
              <a:cxnLst/>
              <a:rect l="l" t="t" r="r" b="b"/>
              <a:pathLst>
                <a:path w="40771" h="635222" extrusionOk="0">
                  <a:moveTo>
                    <a:pt x="0" y="0"/>
                  </a:moveTo>
                  <a:lnTo>
                    <a:pt x="40771" y="0"/>
                  </a:lnTo>
                  <a:lnTo>
                    <a:pt x="40771" y="635222"/>
                  </a:lnTo>
                  <a:lnTo>
                    <a:pt x="0" y="635222"/>
                  </a:lnTo>
                  <a:close/>
                </a:path>
              </a:pathLst>
            </a:custGeom>
            <a:solidFill>
              <a:srgbClr val="D8AA4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" name="Google Shape;816;p18">
              <a:extLst>
                <a:ext uri="{FF2B5EF4-FFF2-40B4-BE49-F238E27FC236}">
                  <a16:creationId xmlns:a16="http://schemas.microsoft.com/office/drawing/2014/main" id="{A088004D-05CC-4D14-BDA8-FF946DDB93E7}"/>
                </a:ext>
              </a:extLst>
            </p:cNvPr>
            <p:cNvSpPr/>
            <p:nvPr/>
          </p:nvSpPr>
          <p:spPr>
            <a:xfrm>
              <a:off x="4543522" y="969264"/>
              <a:ext cx="40771" cy="635222"/>
            </a:xfrm>
            <a:custGeom>
              <a:avLst/>
              <a:gdLst/>
              <a:ahLst/>
              <a:cxnLst/>
              <a:rect l="l" t="t" r="r" b="b"/>
              <a:pathLst>
                <a:path w="40771" h="635222" extrusionOk="0">
                  <a:moveTo>
                    <a:pt x="0" y="0"/>
                  </a:moveTo>
                  <a:lnTo>
                    <a:pt x="40771" y="0"/>
                  </a:lnTo>
                  <a:lnTo>
                    <a:pt x="40771" y="635222"/>
                  </a:lnTo>
                  <a:lnTo>
                    <a:pt x="0" y="635222"/>
                  </a:lnTo>
                  <a:close/>
                </a:path>
              </a:pathLst>
            </a:custGeom>
            <a:solidFill>
              <a:srgbClr val="D8AA4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7" name="Google Shape;817;p18">
              <a:extLst>
                <a:ext uri="{FF2B5EF4-FFF2-40B4-BE49-F238E27FC236}">
                  <a16:creationId xmlns:a16="http://schemas.microsoft.com/office/drawing/2014/main" id="{8CBD8E7D-0A1D-4920-A0E1-45923574D595}"/>
                </a:ext>
              </a:extLst>
            </p:cNvPr>
            <p:cNvSpPr/>
            <p:nvPr/>
          </p:nvSpPr>
          <p:spPr>
            <a:xfrm>
              <a:off x="4264396" y="901827"/>
              <a:ext cx="319897" cy="108775"/>
            </a:xfrm>
            <a:custGeom>
              <a:avLst/>
              <a:gdLst/>
              <a:ahLst/>
              <a:cxnLst/>
              <a:rect l="l" t="t" r="r" b="b"/>
              <a:pathLst>
                <a:path w="319897" h="108775" extrusionOk="0">
                  <a:moveTo>
                    <a:pt x="157098" y="108775"/>
                  </a:moveTo>
                  <a:lnTo>
                    <a:pt x="97319" y="53911"/>
                  </a:lnTo>
                  <a:lnTo>
                    <a:pt x="23950" y="103156"/>
                  </a:lnTo>
                  <a:lnTo>
                    <a:pt x="0" y="67532"/>
                  </a:lnTo>
                  <a:lnTo>
                    <a:pt x="101310" y="857"/>
                  </a:lnTo>
                  <a:lnTo>
                    <a:pt x="159379" y="54102"/>
                  </a:lnTo>
                  <a:lnTo>
                    <a:pt x="228946" y="0"/>
                  </a:lnTo>
                  <a:lnTo>
                    <a:pt x="319897" y="67532"/>
                  </a:lnTo>
                  <a:lnTo>
                    <a:pt x="291481" y="100203"/>
                  </a:lnTo>
                  <a:lnTo>
                    <a:pt x="228851" y="53054"/>
                  </a:lnTo>
                  <a:lnTo>
                    <a:pt x="157098" y="108775"/>
                  </a:lnTo>
                  <a:close/>
                </a:path>
              </a:pathLst>
            </a:custGeom>
            <a:solidFill>
              <a:srgbClr val="D8AA4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8" name="Google Shape;818;p18">
              <a:extLst>
                <a:ext uri="{FF2B5EF4-FFF2-40B4-BE49-F238E27FC236}">
                  <a16:creationId xmlns:a16="http://schemas.microsoft.com/office/drawing/2014/main" id="{F36C43A1-595A-4472-A897-17084FFEEDE0}"/>
                </a:ext>
              </a:extLst>
            </p:cNvPr>
            <p:cNvSpPr/>
            <p:nvPr/>
          </p:nvSpPr>
          <p:spPr>
            <a:xfrm>
              <a:off x="3749667" y="190500"/>
              <a:ext cx="1343462" cy="1451800"/>
            </a:xfrm>
            <a:custGeom>
              <a:avLst/>
              <a:gdLst/>
              <a:ahLst/>
              <a:cxnLst/>
              <a:rect l="l" t="t" r="r" b="b"/>
              <a:pathLst>
                <a:path w="1343462" h="1451800" extrusionOk="0">
                  <a:moveTo>
                    <a:pt x="1132665" y="1449134"/>
                  </a:moveTo>
                  <a:cubicBezTo>
                    <a:pt x="1133425" y="1389317"/>
                    <a:pt x="1143689" y="1212723"/>
                    <a:pt x="1283870" y="969359"/>
                  </a:cubicBezTo>
                  <a:cubicBezTo>
                    <a:pt x="1449711" y="681419"/>
                    <a:pt x="1276837" y="0"/>
                    <a:pt x="671731" y="0"/>
                  </a:cubicBezTo>
                  <a:cubicBezTo>
                    <a:pt x="66625" y="0"/>
                    <a:pt x="-106249" y="681419"/>
                    <a:pt x="59592" y="969359"/>
                  </a:cubicBezTo>
                  <a:cubicBezTo>
                    <a:pt x="180766" y="1179767"/>
                    <a:pt x="207186" y="1366457"/>
                    <a:pt x="212698" y="1451801"/>
                  </a:cubicBezTo>
                </a:path>
              </a:pathLst>
            </a:custGeom>
            <a:solidFill>
              <a:srgbClr val="FFDF57">
                <a:alpha val="6863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79" name="Google Shape;819;p18">
              <a:extLst>
                <a:ext uri="{FF2B5EF4-FFF2-40B4-BE49-F238E27FC236}">
                  <a16:creationId xmlns:a16="http://schemas.microsoft.com/office/drawing/2014/main" id="{2CAF0048-1259-4CE5-B5BC-68ADAE4AD470}"/>
                </a:ext>
              </a:extLst>
            </p:cNvPr>
            <p:cNvGrpSpPr/>
            <p:nvPr/>
          </p:nvGrpSpPr>
          <p:grpSpPr>
            <a:xfrm>
              <a:off x="3923682" y="3244965"/>
              <a:ext cx="195764" cy="131404"/>
              <a:chOff x="5733332" y="4102215"/>
              <a:chExt cx="195764" cy="131404"/>
            </a:xfrm>
          </p:grpSpPr>
          <p:sp>
            <p:nvSpPr>
              <p:cNvPr id="104" name="Google Shape;820;p18">
                <a:extLst>
                  <a:ext uri="{FF2B5EF4-FFF2-40B4-BE49-F238E27FC236}">
                    <a16:creationId xmlns:a16="http://schemas.microsoft.com/office/drawing/2014/main" id="{86F4C6FF-1666-4B89-AE0C-55E4CF981BEC}"/>
                  </a:ext>
                </a:extLst>
              </p:cNvPr>
              <p:cNvSpPr/>
              <p:nvPr/>
            </p:nvSpPr>
            <p:spPr>
              <a:xfrm>
                <a:off x="5734887" y="4131087"/>
                <a:ext cx="177232" cy="100744"/>
              </a:xfrm>
              <a:custGeom>
                <a:avLst/>
                <a:gdLst/>
                <a:ahLst/>
                <a:cxnLst/>
                <a:rect l="l" t="t" r="r" b="b"/>
                <a:pathLst>
                  <a:path w="177232" h="100744" extrusionOk="0">
                    <a:moveTo>
                      <a:pt x="177024" y="99346"/>
                    </a:moveTo>
                    <a:lnTo>
                      <a:pt x="150604" y="74581"/>
                    </a:lnTo>
                    <a:cubicBezTo>
                      <a:pt x="147249" y="69713"/>
                      <a:pt x="143219" y="65351"/>
                      <a:pt x="138629" y="61627"/>
                    </a:cubicBezTo>
                    <a:cubicBezTo>
                      <a:pt x="136623" y="59941"/>
                      <a:pt x="134495" y="58417"/>
                      <a:pt x="132261" y="57055"/>
                    </a:cubicBezTo>
                    <a:lnTo>
                      <a:pt x="98048" y="34195"/>
                    </a:lnTo>
                    <a:lnTo>
                      <a:pt x="60698" y="17621"/>
                    </a:lnTo>
                    <a:cubicBezTo>
                      <a:pt x="58407" y="16564"/>
                      <a:pt x="56060" y="15640"/>
                      <a:pt x="53665" y="14859"/>
                    </a:cubicBezTo>
                    <a:cubicBezTo>
                      <a:pt x="48162" y="13021"/>
                      <a:pt x="42441" y="11935"/>
                      <a:pt x="36653" y="11621"/>
                    </a:cubicBezTo>
                    <a:lnTo>
                      <a:pt x="1109" y="0"/>
                    </a:lnTo>
                    <a:cubicBezTo>
                      <a:pt x="-887" y="0"/>
                      <a:pt x="254" y="3620"/>
                      <a:pt x="1109" y="5144"/>
                    </a:cubicBezTo>
                    <a:lnTo>
                      <a:pt x="4530" y="6572"/>
                    </a:lnTo>
                    <a:cubicBezTo>
                      <a:pt x="8807" y="8192"/>
                      <a:pt x="5196" y="7620"/>
                      <a:pt x="9662" y="10763"/>
                    </a:cubicBezTo>
                    <a:lnTo>
                      <a:pt x="30096" y="16002"/>
                    </a:lnTo>
                    <a:cubicBezTo>
                      <a:pt x="43106" y="15507"/>
                      <a:pt x="55984" y="18822"/>
                      <a:pt x="67160" y="25527"/>
                    </a:cubicBezTo>
                    <a:lnTo>
                      <a:pt x="94246" y="39148"/>
                    </a:lnTo>
                    <a:lnTo>
                      <a:pt x="120287" y="54864"/>
                    </a:lnTo>
                    <a:cubicBezTo>
                      <a:pt x="131729" y="61170"/>
                      <a:pt x="140853" y="70980"/>
                      <a:pt x="146327" y="82868"/>
                    </a:cubicBezTo>
                    <a:lnTo>
                      <a:pt x="160107" y="94012"/>
                    </a:lnTo>
                    <a:cubicBezTo>
                      <a:pt x="164384" y="98012"/>
                      <a:pt x="161913" y="96298"/>
                      <a:pt x="168281" y="97250"/>
                    </a:cubicBezTo>
                    <a:lnTo>
                      <a:pt x="171797" y="100298"/>
                    </a:lnTo>
                    <a:cubicBezTo>
                      <a:pt x="174363" y="100965"/>
                      <a:pt x="178165" y="101060"/>
                      <a:pt x="177024" y="99346"/>
                    </a:cubicBezTo>
                    <a:close/>
                  </a:path>
                </a:pathLst>
              </a:custGeom>
              <a:solidFill>
                <a:srgbClr val="000000">
                  <a:alpha val="2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5" name="Google Shape;821;p18">
                <a:extLst>
                  <a:ext uri="{FF2B5EF4-FFF2-40B4-BE49-F238E27FC236}">
                    <a16:creationId xmlns:a16="http://schemas.microsoft.com/office/drawing/2014/main" id="{28029AF7-FC21-46E6-AE29-CB255125E071}"/>
                  </a:ext>
                </a:extLst>
              </p:cNvPr>
              <p:cNvSpPr/>
              <p:nvPr/>
            </p:nvSpPr>
            <p:spPr>
              <a:xfrm>
                <a:off x="5750846" y="4118425"/>
                <a:ext cx="155883" cy="109857"/>
              </a:xfrm>
              <a:custGeom>
                <a:avLst/>
                <a:gdLst/>
                <a:ahLst/>
                <a:cxnLst/>
                <a:rect l="l" t="t" r="r" b="b"/>
                <a:pathLst>
                  <a:path w="155883" h="109857" extrusionOk="0">
                    <a:moveTo>
                      <a:pt x="86746" y="59620"/>
                    </a:moveTo>
                    <a:cubicBezTo>
                      <a:pt x="88855" y="56363"/>
                      <a:pt x="91688" y="53619"/>
                      <a:pt x="95014" y="51619"/>
                    </a:cubicBezTo>
                    <a:cubicBezTo>
                      <a:pt x="99851" y="48647"/>
                      <a:pt x="105525" y="47342"/>
                      <a:pt x="111170" y="47904"/>
                    </a:cubicBezTo>
                    <a:cubicBezTo>
                      <a:pt x="117832" y="48590"/>
                      <a:pt x="124295" y="50600"/>
                      <a:pt x="130178" y="53810"/>
                    </a:cubicBezTo>
                    <a:lnTo>
                      <a:pt x="130843" y="53810"/>
                    </a:lnTo>
                    <a:lnTo>
                      <a:pt x="140347" y="58953"/>
                    </a:lnTo>
                    <a:cubicBezTo>
                      <a:pt x="142818" y="60287"/>
                      <a:pt x="145099" y="61811"/>
                      <a:pt x="147380" y="63335"/>
                    </a:cubicBezTo>
                    <a:lnTo>
                      <a:pt x="151751" y="66573"/>
                    </a:lnTo>
                    <a:cubicBezTo>
                      <a:pt x="158309" y="71812"/>
                      <a:pt x="156408" y="82099"/>
                      <a:pt x="150611" y="90290"/>
                    </a:cubicBezTo>
                    <a:cubicBezTo>
                      <a:pt x="147399" y="94863"/>
                      <a:pt x="143702" y="99082"/>
                      <a:pt x="139587" y="102863"/>
                    </a:cubicBezTo>
                    <a:cubicBezTo>
                      <a:pt x="132231" y="109264"/>
                      <a:pt x="122119" y="111455"/>
                      <a:pt x="112786" y="108674"/>
                    </a:cubicBezTo>
                    <a:cubicBezTo>
                      <a:pt x="108528" y="107331"/>
                      <a:pt x="104413" y="105540"/>
                      <a:pt x="100526" y="103340"/>
                    </a:cubicBezTo>
                    <a:cubicBezTo>
                      <a:pt x="96934" y="101235"/>
                      <a:pt x="93522" y="98815"/>
                      <a:pt x="90357" y="96101"/>
                    </a:cubicBezTo>
                    <a:cubicBezTo>
                      <a:pt x="82374" y="88624"/>
                      <a:pt x="79874" y="76965"/>
                      <a:pt x="84084" y="66859"/>
                    </a:cubicBezTo>
                    <a:cubicBezTo>
                      <a:pt x="84702" y="64354"/>
                      <a:pt x="85596" y="61925"/>
                      <a:pt x="86746" y="59620"/>
                    </a:cubicBezTo>
                    <a:close/>
                    <a:moveTo>
                      <a:pt x="8339" y="11995"/>
                    </a:moveTo>
                    <a:cubicBezTo>
                      <a:pt x="13471" y="4089"/>
                      <a:pt x="22215" y="-1912"/>
                      <a:pt x="29628" y="565"/>
                    </a:cubicBezTo>
                    <a:lnTo>
                      <a:pt x="34380" y="2375"/>
                    </a:lnTo>
                    <a:cubicBezTo>
                      <a:pt x="36784" y="3318"/>
                      <a:pt x="39132" y="4394"/>
                      <a:pt x="41412" y="5613"/>
                    </a:cubicBezTo>
                    <a:lnTo>
                      <a:pt x="50061" y="10090"/>
                    </a:lnTo>
                    <a:lnTo>
                      <a:pt x="50631" y="10090"/>
                    </a:lnTo>
                    <a:cubicBezTo>
                      <a:pt x="56067" y="12967"/>
                      <a:pt x="60772" y="17034"/>
                      <a:pt x="64412" y="21996"/>
                    </a:cubicBezTo>
                    <a:cubicBezTo>
                      <a:pt x="67424" y="26073"/>
                      <a:pt x="68688" y="31178"/>
                      <a:pt x="67928" y="36188"/>
                    </a:cubicBezTo>
                    <a:cubicBezTo>
                      <a:pt x="67358" y="39875"/>
                      <a:pt x="65932" y="43361"/>
                      <a:pt x="63746" y="46380"/>
                    </a:cubicBezTo>
                    <a:cubicBezTo>
                      <a:pt x="61969" y="48533"/>
                      <a:pt x="59964" y="50476"/>
                      <a:pt x="57759" y="52190"/>
                    </a:cubicBezTo>
                    <a:cubicBezTo>
                      <a:pt x="49652" y="60106"/>
                      <a:pt x="37972" y="63116"/>
                      <a:pt x="27062" y="60096"/>
                    </a:cubicBezTo>
                    <a:cubicBezTo>
                      <a:pt x="23241" y="58877"/>
                      <a:pt x="19544" y="57286"/>
                      <a:pt x="16037" y="55334"/>
                    </a:cubicBezTo>
                    <a:cubicBezTo>
                      <a:pt x="12645" y="53238"/>
                      <a:pt x="9461" y="50809"/>
                      <a:pt x="6534" y="48095"/>
                    </a:cubicBezTo>
                    <a:cubicBezTo>
                      <a:pt x="309" y="42285"/>
                      <a:pt x="-1687" y="33236"/>
                      <a:pt x="1497" y="25330"/>
                    </a:cubicBezTo>
                    <a:cubicBezTo>
                      <a:pt x="3274" y="20672"/>
                      <a:pt x="5574" y="16234"/>
                      <a:pt x="8339" y="12090"/>
                    </a:cubicBezTo>
                    <a:close/>
                  </a:path>
                </a:pathLst>
              </a:custGeom>
              <a:solidFill>
                <a:srgbClr val="000000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6" name="Google Shape;822;p18">
                <a:extLst>
                  <a:ext uri="{FF2B5EF4-FFF2-40B4-BE49-F238E27FC236}">
                    <a16:creationId xmlns:a16="http://schemas.microsoft.com/office/drawing/2014/main" id="{0C57F36D-B43D-4405-A09A-07801E258D80}"/>
                  </a:ext>
                </a:extLst>
              </p:cNvPr>
              <p:cNvSpPr/>
              <p:nvPr/>
            </p:nvSpPr>
            <p:spPr>
              <a:xfrm>
                <a:off x="5733332" y="4130673"/>
                <a:ext cx="192169" cy="73375"/>
              </a:xfrm>
              <a:custGeom>
                <a:avLst/>
                <a:gdLst/>
                <a:ahLst/>
                <a:cxnLst/>
                <a:rect l="l" t="t" r="r" b="b"/>
                <a:pathLst>
                  <a:path w="192169" h="73375" extrusionOk="0">
                    <a:moveTo>
                      <a:pt x="15779" y="11368"/>
                    </a:moveTo>
                    <a:lnTo>
                      <a:pt x="36117" y="9463"/>
                    </a:lnTo>
                    <a:cubicBezTo>
                      <a:pt x="48995" y="8187"/>
                      <a:pt x="61967" y="10768"/>
                      <a:pt x="73372" y="16893"/>
                    </a:cubicBezTo>
                    <a:lnTo>
                      <a:pt x="185611" y="73376"/>
                    </a:lnTo>
                    <a:lnTo>
                      <a:pt x="192169" y="63851"/>
                    </a:lnTo>
                    <a:lnTo>
                      <a:pt x="66529" y="8320"/>
                    </a:lnTo>
                    <a:cubicBezTo>
                      <a:pt x="58974" y="4777"/>
                      <a:pt x="50810" y="2739"/>
                      <a:pt x="42484" y="2320"/>
                    </a:cubicBezTo>
                    <a:lnTo>
                      <a:pt x="2569" y="34"/>
                    </a:lnTo>
                    <a:cubicBezTo>
                      <a:pt x="1381" y="-176"/>
                      <a:pt x="250" y="614"/>
                      <a:pt x="31" y="1805"/>
                    </a:cubicBezTo>
                    <a:cubicBezTo>
                      <a:pt x="-73" y="2424"/>
                      <a:pt x="88" y="3063"/>
                      <a:pt x="478" y="3558"/>
                    </a:cubicBezTo>
                    <a:lnTo>
                      <a:pt x="1523" y="4987"/>
                    </a:lnTo>
                    <a:cubicBezTo>
                      <a:pt x="4869" y="9425"/>
                      <a:pt x="10248" y="11835"/>
                      <a:pt x="15779" y="11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7" name="Google Shape;823;p18">
                <a:extLst>
                  <a:ext uri="{FF2B5EF4-FFF2-40B4-BE49-F238E27FC236}">
                    <a16:creationId xmlns:a16="http://schemas.microsoft.com/office/drawing/2014/main" id="{AD77E822-0B62-4C77-BC1B-F08A8CDB4280}"/>
                  </a:ext>
                </a:extLst>
              </p:cNvPr>
              <p:cNvSpPr/>
              <p:nvPr/>
            </p:nvSpPr>
            <p:spPr>
              <a:xfrm>
                <a:off x="5757380" y="4106036"/>
                <a:ext cx="156130" cy="127583"/>
              </a:xfrm>
              <a:custGeom>
                <a:avLst/>
                <a:gdLst/>
                <a:ahLst/>
                <a:cxnLst/>
                <a:rect l="l" t="t" r="r" b="b"/>
                <a:pathLst>
                  <a:path w="156130" h="127583" extrusionOk="0">
                    <a:moveTo>
                      <a:pt x="136950" y="117539"/>
                    </a:moveTo>
                    <a:lnTo>
                      <a:pt x="128491" y="98489"/>
                    </a:lnTo>
                    <a:cubicBezTo>
                      <a:pt x="123036" y="86601"/>
                      <a:pt x="113950" y="76762"/>
                      <a:pt x="102546" y="70390"/>
                    </a:cubicBezTo>
                    <a:lnTo>
                      <a:pt x="0" y="8858"/>
                    </a:lnTo>
                    <a:lnTo>
                      <a:pt x="5797" y="0"/>
                    </a:lnTo>
                    <a:lnTo>
                      <a:pt x="114236" y="72295"/>
                    </a:lnTo>
                    <a:cubicBezTo>
                      <a:pt x="121439" y="76876"/>
                      <a:pt x="127645" y="82868"/>
                      <a:pt x="132483" y="89916"/>
                    </a:cubicBezTo>
                    <a:lnTo>
                      <a:pt x="155767" y="124016"/>
                    </a:lnTo>
                    <a:cubicBezTo>
                      <a:pt x="156908" y="125730"/>
                      <a:pt x="155197" y="127921"/>
                      <a:pt x="152916" y="127540"/>
                    </a:cubicBezTo>
                    <a:lnTo>
                      <a:pt x="150920" y="127540"/>
                    </a:lnTo>
                    <a:cubicBezTo>
                      <a:pt x="144866" y="126816"/>
                      <a:pt x="139601" y="123044"/>
                      <a:pt x="136950" y="117539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8" name="Google Shape;824;p18">
                <a:extLst>
                  <a:ext uri="{FF2B5EF4-FFF2-40B4-BE49-F238E27FC236}">
                    <a16:creationId xmlns:a16="http://schemas.microsoft.com/office/drawing/2014/main" id="{96BD600A-39E6-4FBD-BB43-27E92F963679}"/>
                  </a:ext>
                </a:extLst>
              </p:cNvPr>
              <p:cNvSpPr/>
              <p:nvPr/>
            </p:nvSpPr>
            <p:spPr>
              <a:xfrm>
                <a:off x="5834686" y="4162247"/>
                <a:ext cx="73778" cy="62054"/>
              </a:xfrm>
              <a:custGeom>
                <a:avLst/>
                <a:gdLst/>
                <a:ahLst/>
                <a:cxnLst/>
                <a:rect l="l" t="t" r="r" b="b"/>
                <a:pathLst>
                  <a:path w="73778" h="62054" extrusionOk="0">
                    <a:moveTo>
                      <a:pt x="29231" y="178"/>
                    </a:moveTo>
                    <a:cubicBezTo>
                      <a:pt x="35893" y="835"/>
                      <a:pt x="42346" y="2807"/>
                      <a:pt x="48239" y="5988"/>
                    </a:cubicBezTo>
                    <a:lnTo>
                      <a:pt x="48809" y="5988"/>
                    </a:lnTo>
                    <a:lnTo>
                      <a:pt x="58313" y="11036"/>
                    </a:lnTo>
                    <a:cubicBezTo>
                      <a:pt x="60783" y="12465"/>
                      <a:pt x="63064" y="13894"/>
                      <a:pt x="65345" y="15418"/>
                    </a:cubicBezTo>
                    <a:cubicBezTo>
                      <a:pt x="67626" y="16942"/>
                      <a:pt x="68292" y="17608"/>
                      <a:pt x="69717" y="18751"/>
                    </a:cubicBezTo>
                    <a:cubicBezTo>
                      <a:pt x="76180" y="23895"/>
                      <a:pt x="74279" y="34277"/>
                      <a:pt x="68577" y="42373"/>
                    </a:cubicBezTo>
                    <a:cubicBezTo>
                      <a:pt x="65383" y="46993"/>
                      <a:pt x="61658" y="51222"/>
                      <a:pt x="57457" y="54946"/>
                    </a:cubicBezTo>
                    <a:cubicBezTo>
                      <a:pt x="50187" y="61442"/>
                      <a:pt x="40075" y="63681"/>
                      <a:pt x="30752" y="60852"/>
                    </a:cubicBezTo>
                    <a:cubicBezTo>
                      <a:pt x="26503" y="59433"/>
                      <a:pt x="22398" y="57613"/>
                      <a:pt x="18492" y="55422"/>
                    </a:cubicBezTo>
                    <a:cubicBezTo>
                      <a:pt x="14852" y="53384"/>
                      <a:pt x="11440" y="50955"/>
                      <a:pt x="8323" y="48184"/>
                    </a:cubicBezTo>
                    <a:cubicBezTo>
                      <a:pt x="301" y="40764"/>
                      <a:pt x="-2208" y="29105"/>
                      <a:pt x="2050" y="19037"/>
                    </a:cubicBezTo>
                    <a:cubicBezTo>
                      <a:pt x="2763" y="16370"/>
                      <a:pt x="3808" y="13808"/>
                      <a:pt x="5186" y="11417"/>
                    </a:cubicBezTo>
                    <a:cubicBezTo>
                      <a:pt x="7325" y="8179"/>
                      <a:pt x="10147" y="5445"/>
                      <a:pt x="13455" y="3416"/>
                    </a:cubicBezTo>
                    <a:cubicBezTo>
                      <a:pt x="18226" y="663"/>
                      <a:pt x="23757" y="-470"/>
                      <a:pt x="29231" y="178"/>
                    </a:cubicBezTo>
                    <a:close/>
                  </a:path>
                </a:pathLst>
              </a:custGeom>
              <a:solidFill>
                <a:srgbClr val="000000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9" name="Google Shape;825;p18">
                <a:extLst>
                  <a:ext uri="{FF2B5EF4-FFF2-40B4-BE49-F238E27FC236}">
                    <a16:creationId xmlns:a16="http://schemas.microsoft.com/office/drawing/2014/main" id="{66B8A16E-6A38-4719-B192-FFF56F82FA7F}"/>
                  </a:ext>
                </a:extLst>
              </p:cNvPr>
              <p:cNvSpPr/>
              <p:nvPr/>
            </p:nvSpPr>
            <p:spPr>
              <a:xfrm>
                <a:off x="5745586" y="4102215"/>
                <a:ext cx="183510" cy="128783"/>
              </a:xfrm>
              <a:custGeom>
                <a:avLst/>
                <a:gdLst/>
                <a:ahLst/>
                <a:cxnLst/>
                <a:rect l="l" t="t" r="r" b="b"/>
                <a:pathLst>
                  <a:path w="183510" h="128783" extrusionOk="0">
                    <a:moveTo>
                      <a:pt x="14550" y="1821"/>
                    </a:moveTo>
                    <a:lnTo>
                      <a:pt x="9608" y="9632"/>
                    </a:lnTo>
                    <a:cubicBezTo>
                      <a:pt x="8753" y="10575"/>
                      <a:pt x="8753" y="12022"/>
                      <a:pt x="9608" y="12965"/>
                    </a:cubicBezTo>
                    <a:cubicBezTo>
                      <a:pt x="11347" y="14527"/>
                      <a:pt x="11822" y="17071"/>
                      <a:pt x="10748" y="19157"/>
                    </a:cubicBezTo>
                    <a:lnTo>
                      <a:pt x="2575" y="36301"/>
                    </a:lnTo>
                    <a:cubicBezTo>
                      <a:pt x="-2329" y="46274"/>
                      <a:pt x="-86" y="58304"/>
                      <a:pt x="8087" y="65829"/>
                    </a:cubicBezTo>
                    <a:lnTo>
                      <a:pt x="8087" y="65829"/>
                    </a:lnTo>
                    <a:cubicBezTo>
                      <a:pt x="14997" y="72001"/>
                      <a:pt x="23170" y="76583"/>
                      <a:pt x="32037" y="79259"/>
                    </a:cubicBezTo>
                    <a:lnTo>
                      <a:pt x="32037" y="79259"/>
                    </a:lnTo>
                    <a:cubicBezTo>
                      <a:pt x="45494" y="83374"/>
                      <a:pt x="60111" y="79717"/>
                      <a:pt x="70052" y="69734"/>
                    </a:cubicBezTo>
                    <a:lnTo>
                      <a:pt x="77655" y="62019"/>
                    </a:lnTo>
                    <a:cubicBezTo>
                      <a:pt x="79337" y="60381"/>
                      <a:pt x="80354" y="58171"/>
                      <a:pt x="80506" y="55828"/>
                    </a:cubicBezTo>
                    <a:cubicBezTo>
                      <a:pt x="81029" y="52180"/>
                      <a:pt x="84393" y="49646"/>
                      <a:pt x="88033" y="50170"/>
                    </a:cubicBezTo>
                    <a:cubicBezTo>
                      <a:pt x="88718" y="50265"/>
                      <a:pt x="89383" y="50475"/>
                      <a:pt x="90010" y="50780"/>
                    </a:cubicBezTo>
                    <a:lnTo>
                      <a:pt x="91911" y="51732"/>
                    </a:lnTo>
                    <a:lnTo>
                      <a:pt x="93811" y="52875"/>
                    </a:lnTo>
                    <a:cubicBezTo>
                      <a:pt x="96321" y="54694"/>
                      <a:pt x="96891" y="58209"/>
                      <a:pt x="95075" y="60723"/>
                    </a:cubicBezTo>
                    <a:cubicBezTo>
                      <a:pt x="94572" y="61419"/>
                      <a:pt x="93906" y="62000"/>
                      <a:pt x="93146" y="62400"/>
                    </a:cubicBezTo>
                    <a:cubicBezTo>
                      <a:pt x="91008" y="63533"/>
                      <a:pt x="89307" y="65343"/>
                      <a:pt x="88299" y="67543"/>
                    </a:cubicBezTo>
                    <a:lnTo>
                      <a:pt x="84023" y="77068"/>
                    </a:lnTo>
                    <a:cubicBezTo>
                      <a:pt x="78482" y="89508"/>
                      <a:pt x="81770" y="104119"/>
                      <a:pt x="92101" y="112978"/>
                    </a:cubicBezTo>
                    <a:lnTo>
                      <a:pt x="92101" y="112978"/>
                    </a:lnTo>
                    <a:cubicBezTo>
                      <a:pt x="99362" y="119398"/>
                      <a:pt x="107877" y="124227"/>
                      <a:pt x="117096" y="127170"/>
                    </a:cubicBezTo>
                    <a:lnTo>
                      <a:pt x="117096" y="127170"/>
                    </a:lnTo>
                    <a:cubicBezTo>
                      <a:pt x="129156" y="131066"/>
                      <a:pt x="142366" y="127780"/>
                      <a:pt x="151214" y="118693"/>
                    </a:cubicBezTo>
                    <a:lnTo>
                      <a:pt x="165470" y="103643"/>
                    </a:lnTo>
                    <a:cubicBezTo>
                      <a:pt x="167409" y="101700"/>
                      <a:pt x="170250" y="100967"/>
                      <a:pt x="172883" y="101738"/>
                    </a:cubicBezTo>
                    <a:cubicBezTo>
                      <a:pt x="174290" y="102224"/>
                      <a:pt x="175858" y="101767"/>
                      <a:pt x="176780" y="100595"/>
                    </a:cubicBezTo>
                    <a:lnTo>
                      <a:pt x="182577" y="92594"/>
                    </a:lnTo>
                    <a:cubicBezTo>
                      <a:pt x="183822" y="91108"/>
                      <a:pt x="183822" y="88937"/>
                      <a:pt x="182577" y="87451"/>
                    </a:cubicBezTo>
                    <a:cubicBezTo>
                      <a:pt x="173501" y="78412"/>
                      <a:pt x="163047" y="70887"/>
                      <a:pt x="151595" y="65162"/>
                    </a:cubicBezTo>
                    <a:lnTo>
                      <a:pt x="142091" y="60019"/>
                    </a:lnTo>
                    <a:cubicBezTo>
                      <a:pt x="135058" y="56180"/>
                      <a:pt x="127341" y="53789"/>
                      <a:pt x="119377" y="52970"/>
                    </a:cubicBezTo>
                    <a:lnTo>
                      <a:pt x="112344" y="52208"/>
                    </a:lnTo>
                    <a:cubicBezTo>
                      <a:pt x="110776" y="52284"/>
                      <a:pt x="109236" y="51732"/>
                      <a:pt x="108067" y="50684"/>
                    </a:cubicBezTo>
                    <a:cubicBezTo>
                      <a:pt x="107373" y="49703"/>
                      <a:pt x="106461" y="48884"/>
                      <a:pt x="105406" y="48303"/>
                    </a:cubicBezTo>
                    <a:lnTo>
                      <a:pt x="97613" y="44112"/>
                    </a:lnTo>
                    <a:lnTo>
                      <a:pt x="89820" y="39826"/>
                    </a:lnTo>
                    <a:cubicBezTo>
                      <a:pt x="88699" y="39254"/>
                      <a:pt x="87463" y="38930"/>
                      <a:pt x="86208" y="38873"/>
                    </a:cubicBezTo>
                    <a:cubicBezTo>
                      <a:pt x="84374" y="38826"/>
                      <a:pt x="82664" y="37949"/>
                      <a:pt x="81552" y="36492"/>
                    </a:cubicBezTo>
                    <a:lnTo>
                      <a:pt x="77750" y="31349"/>
                    </a:lnTo>
                    <a:cubicBezTo>
                      <a:pt x="73359" y="25453"/>
                      <a:pt x="67667" y="20661"/>
                      <a:pt x="61118" y="17347"/>
                    </a:cubicBezTo>
                    <a:lnTo>
                      <a:pt x="52470" y="12775"/>
                    </a:lnTo>
                    <a:cubicBezTo>
                      <a:pt x="42244" y="6698"/>
                      <a:pt x="31058" y="2412"/>
                      <a:pt x="19397" y="107"/>
                    </a:cubicBezTo>
                    <a:cubicBezTo>
                      <a:pt x="17591" y="-275"/>
                      <a:pt x="15719" y="383"/>
                      <a:pt x="14550" y="1821"/>
                    </a:cubicBezTo>
                    <a:close/>
                    <a:moveTo>
                      <a:pt x="93906" y="72020"/>
                    </a:moveTo>
                    <a:cubicBezTo>
                      <a:pt x="96045" y="68782"/>
                      <a:pt x="98867" y="66048"/>
                      <a:pt x="102175" y="64019"/>
                    </a:cubicBezTo>
                    <a:cubicBezTo>
                      <a:pt x="107012" y="61048"/>
                      <a:pt x="112696" y="59781"/>
                      <a:pt x="118331" y="60400"/>
                    </a:cubicBezTo>
                    <a:cubicBezTo>
                      <a:pt x="124993" y="61057"/>
                      <a:pt x="131447" y="63029"/>
                      <a:pt x="137339" y="66210"/>
                    </a:cubicBezTo>
                    <a:lnTo>
                      <a:pt x="137909" y="66210"/>
                    </a:lnTo>
                    <a:lnTo>
                      <a:pt x="147413" y="71258"/>
                    </a:lnTo>
                    <a:cubicBezTo>
                      <a:pt x="149884" y="72687"/>
                      <a:pt x="152165" y="74116"/>
                      <a:pt x="154446" y="75640"/>
                    </a:cubicBezTo>
                    <a:cubicBezTo>
                      <a:pt x="156727" y="77164"/>
                      <a:pt x="157392" y="77831"/>
                      <a:pt x="158817" y="78974"/>
                    </a:cubicBezTo>
                    <a:cubicBezTo>
                      <a:pt x="165280" y="84117"/>
                      <a:pt x="163379" y="94499"/>
                      <a:pt x="157677" y="102596"/>
                    </a:cubicBezTo>
                    <a:cubicBezTo>
                      <a:pt x="154484" y="107215"/>
                      <a:pt x="150758" y="111444"/>
                      <a:pt x="146558" y="115168"/>
                    </a:cubicBezTo>
                    <a:cubicBezTo>
                      <a:pt x="139287" y="121665"/>
                      <a:pt x="129175" y="123903"/>
                      <a:pt x="119852" y="121074"/>
                    </a:cubicBezTo>
                    <a:cubicBezTo>
                      <a:pt x="115604" y="119655"/>
                      <a:pt x="111498" y="117835"/>
                      <a:pt x="107592" y="115645"/>
                    </a:cubicBezTo>
                    <a:cubicBezTo>
                      <a:pt x="103952" y="113606"/>
                      <a:pt x="100540" y="111178"/>
                      <a:pt x="97423" y="108406"/>
                    </a:cubicBezTo>
                    <a:cubicBezTo>
                      <a:pt x="89402" y="100986"/>
                      <a:pt x="86893" y="89327"/>
                      <a:pt x="91150" y="79259"/>
                    </a:cubicBezTo>
                    <a:cubicBezTo>
                      <a:pt x="91768" y="76745"/>
                      <a:pt x="92690" y="74306"/>
                      <a:pt x="93906" y="72020"/>
                    </a:cubicBezTo>
                    <a:close/>
                    <a:moveTo>
                      <a:pt x="15405" y="24395"/>
                    </a:moveTo>
                    <a:cubicBezTo>
                      <a:pt x="20632" y="16585"/>
                      <a:pt x="29281" y="10584"/>
                      <a:pt x="36789" y="13060"/>
                    </a:cubicBezTo>
                    <a:cubicBezTo>
                      <a:pt x="38404" y="13546"/>
                      <a:pt x="39992" y="14118"/>
                      <a:pt x="41541" y="14775"/>
                    </a:cubicBezTo>
                    <a:cubicBezTo>
                      <a:pt x="43917" y="15727"/>
                      <a:pt x="46293" y="16871"/>
                      <a:pt x="48574" y="18014"/>
                    </a:cubicBezTo>
                    <a:lnTo>
                      <a:pt x="57222" y="22585"/>
                    </a:lnTo>
                    <a:lnTo>
                      <a:pt x="57792" y="22585"/>
                    </a:lnTo>
                    <a:cubicBezTo>
                      <a:pt x="63190" y="25519"/>
                      <a:pt x="67885" y="29577"/>
                      <a:pt x="71573" y="34492"/>
                    </a:cubicBezTo>
                    <a:cubicBezTo>
                      <a:pt x="74576" y="38607"/>
                      <a:pt x="75802" y="43750"/>
                      <a:pt x="74994" y="48779"/>
                    </a:cubicBezTo>
                    <a:cubicBezTo>
                      <a:pt x="74452" y="52437"/>
                      <a:pt x="73017" y="55904"/>
                      <a:pt x="70812" y="58876"/>
                    </a:cubicBezTo>
                    <a:cubicBezTo>
                      <a:pt x="69064" y="61076"/>
                      <a:pt x="67049" y="63057"/>
                      <a:pt x="64825" y="64781"/>
                    </a:cubicBezTo>
                    <a:cubicBezTo>
                      <a:pt x="56709" y="72677"/>
                      <a:pt x="45038" y="75687"/>
                      <a:pt x="34128" y="72687"/>
                    </a:cubicBezTo>
                    <a:cubicBezTo>
                      <a:pt x="30326" y="71458"/>
                      <a:pt x="26658" y="69830"/>
                      <a:pt x="23198" y="67829"/>
                    </a:cubicBezTo>
                    <a:cubicBezTo>
                      <a:pt x="19777" y="65810"/>
                      <a:pt x="16584" y="63410"/>
                      <a:pt x="13695" y="60685"/>
                    </a:cubicBezTo>
                    <a:cubicBezTo>
                      <a:pt x="7479" y="54828"/>
                      <a:pt x="5483" y="45760"/>
                      <a:pt x="8658" y="37825"/>
                    </a:cubicBezTo>
                    <a:cubicBezTo>
                      <a:pt x="10454" y="33158"/>
                      <a:pt x="12716" y="28691"/>
                      <a:pt x="15405" y="24491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0" name="Google Shape;826;p18">
                <a:extLst>
                  <a:ext uri="{FF2B5EF4-FFF2-40B4-BE49-F238E27FC236}">
                    <a16:creationId xmlns:a16="http://schemas.microsoft.com/office/drawing/2014/main" id="{51EBD313-F414-4669-9F06-4B44BC790EE2}"/>
                  </a:ext>
                </a:extLst>
              </p:cNvPr>
              <p:cNvSpPr/>
              <p:nvPr/>
            </p:nvSpPr>
            <p:spPr>
              <a:xfrm>
                <a:off x="5752081" y="4128325"/>
                <a:ext cx="64221" cy="49275"/>
              </a:xfrm>
              <a:custGeom>
                <a:avLst/>
                <a:gdLst/>
                <a:ahLst/>
                <a:cxnLst/>
                <a:rect l="l" t="t" r="r" b="b"/>
                <a:pathLst>
                  <a:path w="64221" h="49275" extrusionOk="0">
                    <a:moveTo>
                      <a:pt x="57569" y="40196"/>
                    </a:moveTo>
                    <a:cubicBezTo>
                      <a:pt x="49481" y="48149"/>
                      <a:pt x="37782" y="51159"/>
                      <a:pt x="26872" y="48101"/>
                    </a:cubicBezTo>
                    <a:cubicBezTo>
                      <a:pt x="23118" y="46987"/>
                      <a:pt x="19487" y="45491"/>
                      <a:pt x="16037" y="43624"/>
                    </a:cubicBezTo>
                    <a:cubicBezTo>
                      <a:pt x="12597" y="41634"/>
                      <a:pt x="9404" y="39233"/>
                      <a:pt x="6534" y="36481"/>
                    </a:cubicBezTo>
                    <a:cubicBezTo>
                      <a:pt x="309" y="30671"/>
                      <a:pt x="-1687" y="21622"/>
                      <a:pt x="1497" y="13716"/>
                    </a:cubicBezTo>
                    <a:cubicBezTo>
                      <a:pt x="3369" y="8896"/>
                      <a:pt x="5754" y="4296"/>
                      <a:pt x="8624" y="0"/>
                    </a:cubicBezTo>
                    <a:lnTo>
                      <a:pt x="8624" y="0"/>
                    </a:lnTo>
                    <a:cubicBezTo>
                      <a:pt x="5992" y="4010"/>
                      <a:pt x="3797" y="8287"/>
                      <a:pt x="2067" y="12763"/>
                    </a:cubicBezTo>
                    <a:cubicBezTo>
                      <a:pt x="-1107" y="20698"/>
                      <a:pt x="888" y="29766"/>
                      <a:pt x="7104" y="35623"/>
                    </a:cubicBezTo>
                    <a:cubicBezTo>
                      <a:pt x="9993" y="38348"/>
                      <a:pt x="13186" y="40748"/>
                      <a:pt x="16608" y="42767"/>
                    </a:cubicBezTo>
                    <a:cubicBezTo>
                      <a:pt x="20067" y="44767"/>
                      <a:pt x="23735" y="46396"/>
                      <a:pt x="27537" y="47625"/>
                    </a:cubicBezTo>
                    <a:cubicBezTo>
                      <a:pt x="38447" y="50625"/>
                      <a:pt x="50118" y="47615"/>
                      <a:pt x="58234" y="39719"/>
                    </a:cubicBezTo>
                    <a:cubicBezTo>
                      <a:pt x="60439" y="38005"/>
                      <a:pt x="62444" y="36061"/>
                      <a:pt x="64222" y="33909"/>
                    </a:cubicBezTo>
                    <a:lnTo>
                      <a:pt x="63556" y="34099"/>
                    </a:lnTo>
                    <a:cubicBezTo>
                      <a:pt x="61827" y="36376"/>
                      <a:pt x="59812" y="38424"/>
                      <a:pt x="57569" y="40196"/>
                    </a:cubicBezTo>
                    <a:close/>
                  </a:path>
                </a:pathLst>
              </a:custGeom>
              <a:solidFill>
                <a:srgbClr val="1F232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1" name="Google Shape;827;p18">
                <a:extLst>
                  <a:ext uri="{FF2B5EF4-FFF2-40B4-BE49-F238E27FC236}">
                    <a16:creationId xmlns:a16="http://schemas.microsoft.com/office/drawing/2014/main" id="{AE9E7C5C-7A14-4BDC-84F2-2D1BFC61AE7B}"/>
                  </a:ext>
                </a:extLst>
              </p:cNvPr>
              <p:cNvSpPr/>
              <p:nvPr/>
            </p:nvSpPr>
            <p:spPr>
              <a:xfrm>
                <a:off x="5833480" y="4174426"/>
                <a:ext cx="68642" cy="51616"/>
              </a:xfrm>
              <a:custGeom>
                <a:avLst/>
                <a:gdLst/>
                <a:ahLst/>
                <a:cxnLst/>
                <a:rect l="l" t="t" r="r" b="b"/>
                <a:pathLst>
                  <a:path w="68642" h="51616" extrusionOk="0">
                    <a:moveTo>
                      <a:pt x="57428" y="44577"/>
                    </a:moveTo>
                    <a:cubicBezTo>
                      <a:pt x="50139" y="51044"/>
                      <a:pt x="40027" y="53245"/>
                      <a:pt x="30722" y="50387"/>
                    </a:cubicBezTo>
                    <a:cubicBezTo>
                      <a:pt x="26465" y="49044"/>
                      <a:pt x="22350" y="47254"/>
                      <a:pt x="18463" y="45053"/>
                    </a:cubicBezTo>
                    <a:cubicBezTo>
                      <a:pt x="14870" y="42948"/>
                      <a:pt x="11458" y="40529"/>
                      <a:pt x="8293" y="37814"/>
                    </a:cubicBezTo>
                    <a:cubicBezTo>
                      <a:pt x="310" y="30337"/>
                      <a:pt x="-2189" y="18679"/>
                      <a:pt x="2021" y="8572"/>
                    </a:cubicBezTo>
                    <a:cubicBezTo>
                      <a:pt x="2772" y="5953"/>
                      <a:pt x="3827" y="3429"/>
                      <a:pt x="5157" y="1048"/>
                    </a:cubicBezTo>
                    <a:lnTo>
                      <a:pt x="5917" y="0"/>
                    </a:lnTo>
                    <a:cubicBezTo>
                      <a:pt x="4616" y="2343"/>
                      <a:pt x="3589" y="4839"/>
                      <a:pt x="2876" y="7429"/>
                    </a:cubicBezTo>
                    <a:cubicBezTo>
                      <a:pt x="-1381" y="17497"/>
                      <a:pt x="1128" y="29165"/>
                      <a:pt x="9149" y="36576"/>
                    </a:cubicBezTo>
                    <a:cubicBezTo>
                      <a:pt x="12266" y="39348"/>
                      <a:pt x="15678" y="41777"/>
                      <a:pt x="19318" y="43815"/>
                    </a:cubicBezTo>
                    <a:cubicBezTo>
                      <a:pt x="23224" y="46006"/>
                      <a:pt x="27330" y="47825"/>
                      <a:pt x="31578" y="49244"/>
                    </a:cubicBezTo>
                    <a:cubicBezTo>
                      <a:pt x="40901" y="52073"/>
                      <a:pt x="51013" y="49835"/>
                      <a:pt x="58283" y="43339"/>
                    </a:cubicBezTo>
                    <a:cubicBezTo>
                      <a:pt x="62142" y="39881"/>
                      <a:pt x="65620" y="36023"/>
                      <a:pt x="68643" y="31813"/>
                    </a:cubicBezTo>
                    <a:lnTo>
                      <a:pt x="68643" y="31813"/>
                    </a:lnTo>
                    <a:cubicBezTo>
                      <a:pt x="65440" y="36509"/>
                      <a:pt x="61667" y="40795"/>
                      <a:pt x="57428" y="44577"/>
                    </a:cubicBezTo>
                    <a:close/>
                  </a:path>
                </a:pathLst>
              </a:custGeom>
              <a:solidFill>
                <a:srgbClr val="1F232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2" name="Google Shape;828;p18">
                <a:extLst>
                  <a:ext uri="{FF2B5EF4-FFF2-40B4-BE49-F238E27FC236}">
                    <a16:creationId xmlns:a16="http://schemas.microsoft.com/office/drawing/2014/main" id="{68BEA5FD-CDC8-4B33-976D-1DFBF68A2A79}"/>
                  </a:ext>
                </a:extLst>
              </p:cNvPr>
              <p:cNvSpPr/>
              <p:nvPr/>
            </p:nvSpPr>
            <p:spPr>
              <a:xfrm>
                <a:off x="5752373" y="4115091"/>
                <a:ext cx="68187" cy="61619"/>
              </a:xfrm>
              <a:custGeom>
                <a:avLst/>
                <a:gdLst/>
                <a:ahLst/>
                <a:cxnLst/>
                <a:rect l="l" t="t" r="r" b="b"/>
                <a:pathLst>
                  <a:path w="68187" h="61619" extrusionOk="0">
                    <a:moveTo>
                      <a:pt x="64786" y="21997"/>
                    </a:moveTo>
                    <a:cubicBezTo>
                      <a:pt x="61098" y="17082"/>
                      <a:pt x="56403" y="13024"/>
                      <a:pt x="51005" y="10090"/>
                    </a:cubicBezTo>
                    <a:lnTo>
                      <a:pt x="50435" y="10090"/>
                    </a:lnTo>
                    <a:lnTo>
                      <a:pt x="41787" y="5518"/>
                    </a:lnTo>
                    <a:cubicBezTo>
                      <a:pt x="39506" y="4375"/>
                      <a:pt x="37130" y="3232"/>
                      <a:pt x="34754" y="2280"/>
                    </a:cubicBezTo>
                    <a:cubicBezTo>
                      <a:pt x="33205" y="1623"/>
                      <a:pt x="31617" y="1051"/>
                      <a:pt x="30002" y="565"/>
                    </a:cubicBezTo>
                    <a:cubicBezTo>
                      <a:pt x="22494" y="-1911"/>
                      <a:pt x="13845" y="4090"/>
                      <a:pt x="8618" y="11900"/>
                    </a:cubicBezTo>
                    <a:cubicBezTo>
                      <a:pt x="5767" y="16205"/>
                      <a:pt x="3382" y="20806"/>
                      <a:pt x="1490" y="25616"/>
                    </a:cubicBezTo>
                    <a:cubicBezTo>
                      <a:pt x="-1684" y="33551"/>
                      <a:pt x="312" y="42618"/>
                      <a:pt x="6527" y="48476"/>
                    </a:cubicBezTo>
                    <a:cubicBezTo>
                      <a:pt x="9417" y="51200"/>
                      <a:pt x="12610" y="53601"/>
                      <a:pt x="16031" y="55620"/>
                    </a:cubicBezTo>
                    <a:cubicBezTo>
                      <a:pt x="19491" y="57620"/>
                      <a:pt x="23159" y="59249"/>
                      <a:pt x="26960" y="60478"/>
                    </a:cubicBezTo>
                    <a:cubicBezTo>
                      <a:pt x="37871" y="63478"/>
                      <a:pt x="49542" y="60468"/>
                      <a:pt x="57658" y="52572"/>
                    </a:cubicBezTo>
                    <a:cubicBezTo>
                      <a:pt x="59882" y="50848"/>
                      <a:pt x="61896" y="48867"/>
                      <a:pt x="63645" y="46666"/>
                    </a:cubicBezTo>
                    <a:cubicBezTo>
                      <a:pt x="65850" y="43695"/>
                      <a:pt x="67285" y="40228"/>
                      <a:pt x="67827" y="36570"/>
                    </a:cubicBezTo>
                    <a:cubicBezTo>
                      <a:pt x="68825" y="31503"/>
                      <a:pt x="67732" y="26235"/>
                      <a:pt x="64786" y="21997"/>
                    </a:cubicBezTo>
                    <a:close/>
                  </a:path>
                </a:pathLst>
              </a:custGeom>
              <a:solidFill>
                <a:srgbClr val="000000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80" name="Google Shape;829;p18">
              <a:extLst>
                <a:ext uri="{FF2B5EF4-FFF2-40B4-BE49-F238E27FC236}">
                  <a16:creationId xmlns:a16="http://schemas.microsoft.com/office/drawing/2014/main" id="{0E56FD1A-1A6C-453B-B7AE-D592F4FADFBE}"/>
                </a:ext>
              </a:extLst>
            </p:cNvPr>
            <p:cNvGrpSpPr/>
            <p:nvPr/>
          </p:nvGrpSpPr>
          <p:grpSpPr>
            <a:xfrm flipH="1">
              <a:off x="3829267" y="2465054"/>
              <a:ext cx="683694" cy="518573"/>
              <a:chOff x="6621095" y="1452181"/>
              <a:chExt cx="330894" cy="250785"/>
            </a:xfrm>
          </p:grpSpPr>
          <p:sp>
            <p:nvSpPr>
              <p:cNvPr id="99" name="Google Shape;830;p18">
                <a:extLst>
                  <a:ext uri="{FF2B5EF4-FFF2-40B4-BE49-F238E27FC236}">
                    <a16:creationId xmlns:a16="http://schemas.microsoft.com/office/drawing/2014/main" id="{B92DC50B-7F69-4B91-A197-59E6CAEEC430}"/>
                  </a:ext>
                </a:extLst>
              </p:cNvPr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0" name="Google Shape;831;p18">
                <a:extLst>
                  <a:ext uri="{FF2B5EF4-FFF2-40B4-BE49-F238E27FC236}">
                    <a16:creationId xmlns:a16="http://schemas.microsoft.com/office/drawing/2014/main" id="{BC885825-7020-4314-94A5-929863DC6B30}"/>
                  </a:ext>
                </a:extLst>
              </p:cNvPr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1" name="Google Shape;832;p18">
                <a:extLst>
                  <a:ext uri="{FF2B5EF4-FFF2-40B4-BE49-F238E27FC236}">
                    <a16:creationId xmlns:a16="http://schemas.microsoft.com/office/drawing/2014/main" id="{47E385B2-8878-46EB-96CB-354F2CC47F55}"/>
                  </a:ext>
                </a:extLst>
              </p:cNvPr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2" name="Google Shape;833;p18">
                <a:extLst>
                  <a:ext uri="{FF2B5EF4-FFF2-40B4-BE49-F238E27FC236}">
                    <a16:creationId xmlns:a16="http://schemas.microsoft.com/office/drawing/2014/main" id="{CA157391-9EFE-452E-B6C6-C7B1B6017B21}"/>
                  </a:ext>
                </a:extLst>
              </p:cNvPr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3" name="Google Shape;834;p18">
                <a:extLst>
                  <a:ext uri="{FF2B5EF4-FFF2-40B4-BE49-F238E27FC236}">
                    <a16:creationId xmlns:a16="http://schemas.microsoft.com/office/drawing/2014/main" id="{B6FAD61F-E7E7-42D2-B097-BAA5E518A3F1}"/>
                  </a:ext>
                </a:extLst>
              </p:cNvPr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81" name="Google Shape;835;p18">
              <a:extLst>
                <a:ext uri="{FF2B5EF4-FFF2-40B4-BE49-F238E27FC236}">
                  <a16:creationId xmlns:a16="http://schemas.microsoft.com/office/drawing/2014/main" id="{9EFFBDC7-30F4-40AD-8A42-84994AD524CA}"/>
                </a:ext>
              </a:extLst>
            </p:cNvPr>
            <p:cNvSpPr/>
            <p:nvPr/>
          </p:nvSpPr>
          <p:spPr>
            <a:xfrm rot="-1803147">
              <a:off x="6082659" y="320502"/>
              <a:ext cx="40427" cy="70097"/>
            </a:xfrm>
            <a:custGeom>
              <a:avLst/>
              <a:gdLst/>
              <a:ahLst/>
              <a:cxnLst/>
              <a:rect l="l" t="t" r="r" b="b"/>
              <a:pathLst>
                <a:path w="49989" h="86677" extrusionOk="0">
                  <a:moveTo>
                    <a:pt x="49990" y="43339"/>
                  </a:moveTo>
                  <a:cubicBezTo>
                    <a:pt x="49990" y="67274"/>
                    <a:pt x="38799" y="86678"/>
                    <a:pt x="24995" y="86678"/>
                  </a:cubicBezTo>
                  <a:cubicBezTo>
                    <a:pt x="11190" y="86678"/>
                    <a:pt x="0" y="67274"/>
                    <a:pt x="0" y="43339"/>
                  </a:cubicBezTo>
                  <a:cubicBezTo>
                    <a:pt x="0" y="19403"/>
                    <a:pt x="11190" y="0"/>
                    <a:pt x="24995" y="0"/>
                  </a:cubicBezTo>
                  <a:cubicBezTo>
                    <a:pt x="38799" y="0"/>
                    <a:pt x="49990" y="19403"/>
                    <a:pt x="49990" y="43339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2" name="Google Shape;836;p18">
              <a:extLst>
                <a:ext uri="{FF2B5EF4-FFF2-40B4-BE49-F238E27FC236}">
                  <a16:creationId xmlns:a16="http://schemas.microsoft.com/office/drawing/2014/main" id="{21F16A18-6EF1-4A0C-A269-62B47C999E76}"/>
                </a:ext>
              </a:extLst>
            </p:cNvPr>
            <p:cNvSpPr/>
            <p:nvPr/>
          </p:nvSpPr>
          <p:spPr>
            <a:xfrm>
              <a:off x="5777153" y="2115925"/>
              <a:ext cx="669353" cy="387341"/>
            </a:xfrm>
            <a:custGeom>
              <a:avLst/>
              <a:gdLst/>
              <a:ahLst/>
              <a:cxnLst/>
              <a:rect l="l" t="t" r="r" b="b"/>
              <a:pathLst>
                <a:path w="828920" h="479679" extrusionOk="0">
                  <a:moveTo>
                    <a:pt x="828920" y="239840"/>
                  </a:moveTo>
                  <a:cubicBezTo>
                    <a:pt x="828920" y="372299"/>
                    <a:pt x="643360" y="479679"/>
                    <a:pt x="414460" y="479679"/>
                  </a:cubicBezTo>
                  <a:cubicBezTo>
                    <a:pt x="185560" y="479679"/>
                    <a:pt x="0" y="372299"/>
                    <a:pt x="0" y="239840"/>
                  </a:cubicBezTo>
                  <a:cubicBezTo>
                    <a:pt x="0" y="107380"/>
                    <a:pt x="185560" y="0"/>
                    <a:pt x="414460" y="0"/>
                  </a:cubicBezTo>
                  <a:cubicBezTo>
                    <a:pt x="643360" y="0"/>
                    <a:pt x="828920" y="107380"/>
                    <a:pt x="828920" y="23984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3" name="Google Shape;837;p18">
              <a:extLst>
                <a:ext uri="{FF2B5EF4-FFF2-40B4-BE49-F238E27FC236}">
                  <a16:creationId xmlns:a16="http://schemas.microsoft.com/office/drawing/2014/main" id="{1E475CE9-B5F4-4AD4-B33C-AB368AD96D92}"/>
                </a:ext>
              </a:extLst>
            </p:cNvPr>
            <p:cNvSpPr/>
            <p:nvPr/>
          </p:nvSpPr>
          <p:spPr>
            <a:xfrm>
              <a:off x="5964040" y="276791"/>
              <a:ext cx="375852" cy="551229"/>
            </a:xfrm>
            <a:custGeom>
              <a:avLst/>
              <a:gdLst/>
              <a:ahLst/>
              <a:cxnLst/>
              <a:rect l="l" t="t" r="r" b="b"/>
              <a:pathLst>
                <a:path w="465451" h="682637" extrusionOk="0">
                  <a:moveTo>
                    <a:pt x="164035" y="22597"/>
                  </a:moveTo>
                  <a:cubicBezTo>
                    <a:pt x="182568" y="-7216"/>
                    <a:pt x="324079" y="-26837"/>
                    <a:pt x="370648" y="93368"/>
                  </a:cubicBezTo>
                  <a:cubicBezTo>
                    <a:pt x="388325" y="138898"/>
                    <a:pt x="385569" y="255293"/>
                    <a:pt x="400299" y="328540"/>
                  </a:cubicBezTo>
                  <a:cubicBezTo>
                    <a:pt x="415030" y="401788"/>
                    <a:pt x="449909" y="442840"/>
                    <a:pt x="462359" y="502562"/>
                  </a:cubicBezTo>
                  <a:cubicBezTo>
                    <a:pt x="474809" y="562284"/>
                    <a:pt x="454471" y="661534"/>
                    <a:pt x="311724" y="679060"/>
                  </a:cubicBezTo>
                  <a:cubicBezTo>
                    <a:pt x="168977" y="696586"/>
                    <a:pt x="59209" y="646390"/>
                    <a:pt x="25470" y="600765"/>
                  </a:cubicBezTo>
                  <a:cubicBezTo>
                    <a:pt x="-8268" y="555140"/>
                    <a:pt x="-8934" y="457890"/>
                    <a:pt x="26135" y="406169"/>
                  </a:cubicBezTo>
                  <a:cubicBezTo>
                    <a:pt x="61204" y="354448"/>
                    <a:pt x="87720" y="311776"/>
                    <a:pt x="86865" y="244244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4" name="Google Shape;838;p18">
              <a:extLst>
                <a:ext uri="{FF2B5EF4-FFF2-40B4-BE49-F238E27FC236}">
                  <a16:creationId xmlns:a16="http://schemas.microsoft.com/office/drawing/2014/main" id="{F652149C-C434-40E9-8B60-C3625C5D1EE0}"/>
                </a:ext>
              </a:extLst>
            </p:cNvPr>
            <p:cNvSpPr/>
            <p:nvPr/>
          </p:nvSpPr>
          <p:spPr>
            <a:xfrm>
              <a:off x="5952425" y="673402"/>
              <a:ext cx="70057" cy="407712"/>
            </a:xfrm>
            <a:custGeom>
              <a:avLst/>
              <a:gdLst/>
              <a:ahLst/>
              <a:cxnLst/>
              <a:rect l="l" t="t" r="r" b="b"/>
              <a:pathLst>
                <a:path w="86758" h="504907" extrusionOk="0">
                  <a:moveTo>
                    <a:pt x="8870" y="34023"/>
                  </a:moveTo>
                  <a:cubicBezTo>
                    <a:pt x="8870" y="34023"/>
                    <a:pt x="-24678" y="271196"/>
                    <a:pt x="38712" y="439789"/>
                  </a:cubicBezTo>
                  <a:cubicBezTo>
                    <a:pt x="102102" y="608381"/>
                    <a:pt x="84520" y="396355"/>
                    <a:pt x="84520" y="396355"/>
                  </a:cubicBezTo>
                  <a:lnTo>
                    <a:pt x="69314" y="345967"/>
                  </a:lnTo>
                  <a:cubicBezTo>
                    <a:pt x="69314" y="345967"/>
                    <a:pt x="56579" y="152038"/>
                    <a:pt x="61807" y="104508"/>
                  </a:cubicBezTo>
                  <a:cubicBezTo>
                    <a:pt x="67033" y="56979"/>
                    <a:pt x="65798" y="16116"/>
                    <a:pt x="69314" y="12306"/>
                  </a:cubicBezTo>
                  <a:cubicBezTo>
                    <a:pt x="72831" y="8497"/>
                    <a:pt x="56674" y="972"/>
                    <a:pt x="50307" y="19"/>
                  </a:cubicBezTo>
                  <a:cubicBezTo>
                    <a:pt x="43939" y="-933"/>
                    <a:pt x="8870" y="34023"/>
                    <a:pt x="8870" y="34023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" name="Google Shape;839;p18">
              <a:extLst>
                <a:ext uri="{FF2B5EF4-FFF2-40B4-BE49-F238E27FC236}">
                  <a16:creationId xmlns:a16="http://schemas.microsoft.com/office/drawing/2014/main" id="{938AE09E-308E-4F8F-85A2-5E883EDCB2A0}"/>
                </a:ext>
              </a:extLst>
            </p:cNvPr>
            <p:cNvSpPr/>
            <p:nvPr/>
          </p:nvSpPr>
          <p:spPr>
            <a:xfrm>
              <a:off x="5992903" y="271657"/>
              <a:ext cx="179035" cy="222681"/>
            </a:xfrm>
            <a:custGeom>
              <a:avLst/>
              <a:gdLst/>
              <a:ahLst/>
              <a:cxnLst/>
              <a:rect l="l" t="t" r="r" b="b"/>
              <a:pathLst>
                <a:path w="221715" h="275766" extrusionOk="0">
                  <a:moveTo>
                    <a:pt x="221716" y="8191"/>
                  </a:moveTo>
                  <a:cubicBezTo>
                    <a:pt x="221716" y="8191"/>
                    <a:pt x="115178" y="-22575"/>
                    <a:pt x="50648" y="35147"/>
                  </a:cubicBezTo>
                  <a:cubicBezTo>
                    <a:pt x="-8371" y="87915"/>
                    <a:pt x="-3429" y="159734"/>
                    <a:pt x="5125" y="193452"/>
                  </a:cubicBezTo>
                  <a:cubicBezTo>
                    <a:pt x="13678" y="227171"/>
                    <a:pt x="30975" y="273176"/>
                    <a:pt x="57681" y="275748"/>
                  </a:cubicBezTo>
                  <a:cubicBezTo>
                    <a:pt x="84386" y="278320"/>
                    <a:pt x="221716" y="8191"/>
                    <a:pt x="221716" y="8191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6" name="Google Shape;840;p18">
              <a:extLst>
                <a:ext uri="{FF2B5EF4-FFF2-40B4-BE49-F238E27FC236}">
                  <a16:creationId xmlns:a16="http://schemas.microsoft.com/office/drawing/2014/main" id="{B97DD219-D958-405C-9D26-4CDDC82EB420}"/>
                </a:ext>
              </a:extLst>
            </p:cNvPr>
            <p:cNvSpPr/>
            <p:nvPr/>
          </p:nvSpPr>
          <p:spPr>
            <a:xfrm>
              <a:off x="6027515" y="513497"/>
              <a:ext cx="222025" cy="248990"/>
            </a:xfrm>
            <a:custGeom>
              <a:avLst/>
              <a:gdLst/>
              <a:ahLst/>
              <a:cxnLst/>
              <a:rect l="l" t="t" r="r" b="b"/>
              <a:pathLst>
                <a:path w="274953" h="308347" extrusionOk="0">
                  <a:moveTo>
                    <a:pt x="219342" y="0"/>
                  </a:moveTo>
                  <a:cubicBezTo>
                    <a:pt x="219342" y="0"/>
                    <a:pt x="212310" y="119063"/>
                    <a:pt x="214495" y="127825"/>
                  </a:cubicBezTo>
                  <a:cubicBezTo>
                    <a:pt x="216681" y="136588"/>
                    <a:pt x="261159" y="144971"/>
                    <a:pt x="273609" y="155353"/>
                  </a:cubicBezTo>
                  <a:cubicBezTo>
                    <a:pt x="286059" y="165735"/>
                    <a:pt x="208983" y="286512"/>
                    <a:pt x="169828" y="304419"/>
                  </a:cubicBezTo>
                  <a:cubicBezTo>
                    <a:pt x="130672" y="322326"/>
                    <a:pt x="9308" y="276606"/>
                    <a:pt x="945" y="216122"/>
                  </a:cubicBezTo>
                  <a:cubicBezTo>
                    <a:pt x="-6848" y="160401"/>
                    <a:pt x="35634" y="117158"/>
                    <a:pt x="51981" y="101822"/>
                  </a:cubicBezTo>
                  <a:cubicBezTo>
                    <a:pt x="63100" y="100841"/>
                    <a:pt x="74276" y="100555"/>
                    <a:pt x="85434" y="100965"/>
                  </a:cubicBezTo>
                  <a:lnTo>
                    <a:pt x="89045" y="43243"/>
                  </a:lnTo>
                  <a:cubicBezTo>
                    <a:pt x="142457" y="26575"/>
                    <a:pt x="219342" y="0"/>
                    <a:pt x="219342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7" name="Google Shape;841;p18">
              <a:extLst>
                <a:ext uri="{FF2B5EF4-FFF2-40B4-BE49-F238E27FC236}">
                  <a16:creationId xmlns:a16="http://schemas.microsoft.com/office/drawing/2014/main" id="{47B7E43F-F394-4FF7-80AA-896AFD530F42}"/>
                </a:ext>
              </a:extLst>
            </p:cNvPr>
            <p:cNvSpPr/>
            <p:nvPr/>
          </p:nvSpPr>
          <p:spPr>
            <a:xfrm>
              <a:off x="5963282" y="594790"/>
              <a:ext cx="323371" cy="372912"/>
            </a:xfrm>
            <a:custGeom>
              <a:avLst/>
              <a:gdLst/>
              <a:ahLst/>
              <a:cxnLst/>
              <a:rect l="l" t="t" r="r" b="b"/>
              <a:pathLst>
                <a:path w="400459" h="461811" extrusionOk="0">
                  <a:moveTo>
                    <a:pt x="315417" y="38688"/>
                  </a:moveTo>
                  <a:cubicBezTo>
                    <a:pt x="348776" y="43832"/>
                    <a:pt x="386981" y="61739"/>
                    <a:pt x="392208" y="80027"/>
                  </a:cubicBezTo>
                  <a:cubicBezTo>
                    <a:pt x="398290" y="101363"/>
                    <a:pt x="411216" y="202042"/>
                    <a:pt x="382704" y="278718"/>
                  </a:cubicBezTo>
                  <a:cubicBezTo>
                    <a:pt x="354193" y="355394"/>
                    <a:pt x="334330" y="404067"/>
                    <a:pt x="317793" y="437024"/>
                  </a:cubicBezTo>
                  <a:cubicBezTo>
                    <a:pt x="317793" y="437024"/>
                    <a:pt x="173431" y="499126"/>
                    <a:pt x="57009" y="426737"/>
                  </a:cubicBezTo>
                  <a:cubicBezTo>
                    <a:pt x="57009" y="426737"/>
                    <a:pt x="49026" y="344631"/>
                    <a:pt x="48456" y="300721"/>
                  </a:cubicBezTo>
                  <a:cubicBezTo>
                    <a:pt x="-58937" y="206804"/>
                    <a:pt x="32870" y="91171"/>
                    <a:pt x="123916" y="969"/>
                  </a:cubicBezTo>
                  <a:cubicBezTo>
                    <a:pt x="134807" y="-136"/>
                    <a:pt x="145784" y="-298"/>
                    <a:pt x="156704" y="493"/>
                  </a:cubicBezTo>
                  <a:cubicBezTo>
                    <a:pt x="156704" y="493"/>
                    <a:pt x="75447" y="96791"/>
                    <a:pt x="131899" y="151464"/>
                  </a:cubicBezTo>
                  <a:cubicBezTo>
                    <a:pt x="252693" y="114793"/>
                    <a:pt x="276737" y="60405"/>
                    <a:pt x="315417" y="38688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8" name="Google Shape;842;p18">
              <a:extLst>
                <a:ext uri="{FF2B5EF4-FFF2-40B4-BE49-F238E27FC236}">
                  <a16:creationId xmlns:a16="http://schemas.microsoft.com/office/drawing/2014/main" id="{BF817BE2-FCA0-4688-BB9B-6F4FBB56D8AF}"/>
                </a:ext>
              </a:extLst>
            </p:cNvPr>
            <p:cNvSpPr/>
            <p:nvPr/>
          </p:nvSpPr>
          <p:spPr>
            <a:xfrm>
              <a:off x="6020709" y="289521"/>
              <a:ext cx="238064" cy="294179"/>
            </a:xfrm>
            <a:custGeom>
              <a:avLst/>
              <a:gdLst/>
              <a:ahLst/>
              <a:cxnLst/>
              <a:rect l="l" t="t" r="r" b="b"/>
              <a:pathLst>
                <a:path w="294816" h="364308" extrusionOk="0">
                  <a:moveTo>
                    <a:pt x="6143" y="129898"/>
                  </a:moveTo>
                  <a:lnTo>
                    <a:pt x="6143" y="129898"/>
                  </a:lnTo>
                  <a:cubicBezTo>
                    <a:pt x="18118" y="53698"/>
                    <a:pt x="73240" y="-4405"/>
                    <a:pt x="151931" y="263"/>
                  </a:cubicBezTo>
                  <a:cubicBezTo>
                    <a:pt x="235318" y="4873"/>
                    <a:pt x="299183" y="76348"/>
                    <a:pt x="294583" y="159921"/>
                  </a:cubicBezTo>
                  <a:cubicBezTo>
                    <a:pt x="291970" y="207365"/>
                    <a:pt x="267307" y="250837"/>
                    <a:pt x="227961" y="277345"/>
                  </a:cubicBezTo>
                  <a:cubicBezTo>
                    <a:pt x="225244" y="288937"/>
                    <a:pt x="221157" y="300157"/>
                    <a:pt x="215797" y="310778"/>
                  </a:cubicBezTo>
                  <a:cubicBezTo>
                    <a:pt x="187855" y="343353"/>
                    <a:pt x="113916" y="363927"/>
                    <a:pt x="89492" y="364308"/>
                  </a:cubicBezTo>
                  <a:cubicBezTo>
                    <a:pt x="68298" y="364308"/>
                    <a:pt x="50146" y="344782"/>
                    <a:pt x="30283" y="311921"/>
                  </a:cubicBezTo>
                  <a:cubicBezTo>
                    <a:pt x="-10774" y="243436"/>
                    <a:pt x="-319" y="167617"/>
                    <a:pt x="6143" y="129898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9" name="Google Shape;843;p18">
              <a:extLst>
                <a:ext uri="{FF2B5EF4-FFF2-40B4-BE49-F238E27FC236}">
                  <a16:creationId xmlns:a16="http://schemas.microsoft.com/office/drawing/2014/main" id="{6A5F3238-910B-45A0-9D91-523DEA99E021}"/>
                </a:ext>
              </a:extLst>
            </p:cNvPr>
            <p:cNvSpPr/>
            <p:nvPr/>
          </p:nvSpPr>
          <p:spPr>
            <a:xfrm>
              <a:off x="6029967" y="288305"/>
              <a:ext cx="239492" cy="225171"/>
            </a:xfrm>
            <a:custGeom>
              <a:avLst/>
              <a:gdLst/>
              <a:ahLst/>
              <a:cxnLst/>
              <a:rect l="l" t="t" r="r" b="b"/>
              <a:pathLst>
                <a:path w="296585" h="278850" extrusionOk="0">
                  <a:moveTo>
                    <a:pt x="164891" y="3197"/>
                  </a:moveTo>
                  <a:cubicBezTo>
                    <a:pt x="220108" y="13961"/>
                    <a:pt x="265441" y="29582"/>
                    <a:pt x="280457" y="83874"/>
                  </a:cubicBezTo>
                  <a:cubicBezTo>
                    <a:pt x="290721" y="121307"/>
                    <a:pt x="304121" y="192554"/>
                    <a:pt x="291386" y="222653"/>
                  </a:cubicBezTo>
                  <a:lnTo>
                    <a:pt x="283403" y="244370"/>
                  </a:lnTo>
                  <a:lnTo>
                    <a:pt x="216876" y="278851"/>
                  </a:lnTo>
                  <a:cubicBezTo>
                    <a:pt x="216876" y="278851"/>
                    <a:pt x="185704" y="252848"/>
                    <a:pt x="195398" y="176457"/>
                  </a:cubicBezTo>
                  <a:cubicBezTo>
                    <a:pt x="194980" y="166227"/>
                    <a:pt x="191692" y="156321"/>
                    <a:pt x="185894" y="147882"/>
                  </a:cubicBezTo>
                  <a:cubicBezTo>
                    <a:pt x="181580" y="140729"/>
                    <a:pt x="178367" y="132956"/>
                    <a:pt x="176390" y="124832"/>
                  </a:cubicBezTo>
                  <a:cubicBezTo>
                    <a:pt x="168531" y="104162"/>
                    <a:pt x="153001" y="87332"/>
                    <a:pt x="133053" y="77873"/>
                  </a:cubicBezTo>
                  <a:cubicBezTo>
                    <a:pt x="83348" y="49870"/>
                    <a:pt x="10454" y="74063"/>
                    <a:pt x="0" y="84160"/>
                  </a:cubicBezTo>
                  <a:cubicBezTo>
                    <a:pt x="33929" y="14627"/>
                    <a:pt x="100645" y="-9376"/>
                    <a:pt x="164891" y="3197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0" name="Google Shape;844;p18">
              <a:extLst>
                <a:ext uri="{FF2B5EF4-FFF2-40B4-BE49-F238E27FC236}">
                  <a16:creationId xmlns:a16="http://schemas.microsoft.com/office/drawing/2014/main" id="{3F1ABBA4-46DE-4874-8019-D949FA04911F}"/>
                </a:ext>
              </a:extLst>
            </p:cNvPr>
            <p:cNvSpPr/>
            <p:nvPr/>
          </p:nvSpPr>
          <p:spPr>
            <a:xfrm>
              <a:off x="6069645" y="2237688"/>
              <a:ext cx="188076" cy="143860"/>
            </a:xfrm>
            <a:custGeom>
              <a:avLst/>
              <a:gdLst/>
              <a:ahLst/>
              <a:cxnLst/>
              <a:rect l="l" t="t" r="r" b="b"/>
              <a:pathLst>
                <a:path w="232912" h="178155" extrusionOk="0">
                  <a:moveTo>
                    <a:pt x="216022" y="5"/>
                  </a:moveTo>
                  <a:cubicBezTo>
                    <a:pt x="188081" y="22769"/>
                    <a:pt x="144649" y="7053"/>
                    <a:pt x="142558" y="9053"/>
                  </a:cubicBezTo>
                  <a:cubicBezTo>
                    <a:pt x="114047" y="37628"/>
                    <a:pt x="71755" y="62489"/>
                    <a:pt x="40202" y="87444"/>
                  </a:cubicBezTo>
                  <a:cubicBezTo>
                    <a:pt x="22810" y="101160"/>
                    <a:pt x="-4276" y="119543"/>
                    <a:pt x="571" y="145927"/>
                  </a:cubicBezTo>
                  <a:cubicBezTo>
                    <a:pt x="9410" y="193076"/>
                    <a:pt x="84775" y="178598"/>
                    <a:pt x="113191" y="164120"/>
                  </a:cubicBezTo>
                  <a:cubicBezTo>
                    <a:pt x="141608" y="149642"/>
                    <a:pt x="164797" y="126020"/>
                    <a:pt x="191692" y="109066"/>
                  </a:cubicBezTo>
                  <a:cubicBezTo>
                    <a:pt x="210700" y="97064"/>
                    <a:pt x="229708" y="90873"/>
                    <a:pt x="232749" y="66584"/>
                  </a:cubicBezTo>
                  <a:cubicBezTo>
                    <a:pt x="234555" y="51916"/>
                    <a:pt x="220964" y="-567"/>
                    <a:pt x="216022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845;p18">
              <a:extLst>
                <a:ext uri="{FF2B5EF4-FFF2-40B4-BE49-F238E27FC236}">
                  <a16:creationId xmlns:a16="http://schemas.microsoft.com/office/drawing/2014/main" id="{48E40AA6-4C98-4B95-9EDF-B36C137211F4}"/>
                </a:ext>
              </a:extLst>
            </p:cNvPr>
            <p:cNvSpPr/>
            <p:nvPr/>
          </p:nvSpPr>
          <p:spPr>
            <a:xfrm>
              <a:off x="6070415" y="2283614"/>
              <a:ext cx="187263" cy="97891"/>
            </a:xfrm>
            <a:custGeom>
              <a:avLst/>
              <a:gdLst/>
              <a:ahLst/>
              <a:cxnLst/>
              <a:rect l="l" t="t" r="r" b="b"/>
              <a:pathLst>
                <a:path w="231905" h="121227" extrusionOk="0">
                  <a:moveTo>
                    <a:pt x="231417" y="0"/>
                  </a:moveTo>
                  <a:cubicBezTo>
                    <a:pt x="227711" y="23241"/>
                    <a:pt x="209083" y="29623"/>
                    <a:pt x="190076" y="41434"/>
                  </a:cubicBezTo>
                  <a:cubicBezTo>
                    <a:pt x="162705" y="58483"/>
                    <a:pt x="138660" y="83058"/>
                    <a:pt x="110244" y="97441"/>
                  </a:cubicBezTo>
                  <a:cubicBezTo>
                    <a:pt x="84013" y="110776"/>
                    <a:pt x="18437" y="124015"/>
                    <a:pt x="0" y="90392"/>
                  </a:cubicBezTo>
                  <a:cubicBezTo>
                    <a:pt x="10074" y="135826"/>
                    <a:pt x="84108" y="121539"/>
                    <a:pt x="112240" y="107251"/>
                  </a:cubicBezTo>
                  <a:cubicBezTo>
                    <a:pt x="140371" y="92964"/>
                    <a:pt x="163845" y="69151"/>
                    <a:pt x="190741" y="52197"/>
                  </a:cubicBezTo>
                  <a:cubicBezTo>
                    <a:pt x="209748" y="40196"/>
                    <a:pt x="228756" y="34004"/>
                    <a:pt x="231797" y="9715"/>
                  </a:cubicBezTo>
                  <a:cubicBezTo>
                    <a:pt x="232025" y="6477"/>
                    <a:pt x="231892" y="3219"/>
                    <a:pt x="23141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2" name="Google Shape;846;p18">
              <a:extLst>
                <a:ext uri="{FF2B5EF4-FFF2-40B4-BE49-F238E27FC236}">
                  <a16:creationId xmlns:a16="http://schemas.microsoft.com/office/drawing/2014/main" id="{F502AC27-8510-4492-8BE0-5D6CCBE5B405}"/>
                </a:ext>
              </a:extLst>
            </p:cNvPr>
            <p:cNvSpPr/>
            <p:nvPr/>
          </p:nvSpPr>
          <p:spPr>
            <a:xfrm>
              <a:off x="5927157" y="2205996"/>
              <a:ext cx="172547" cy="133696"/>
            </a:xfrm>
            <a:custGeom>
              <a:avLst/>
              <a:gdLst/>
              <a:ahLst/>
              <a:cxnLst/>
              <a:rect l="l" t="t" r="r" b="b"/>
              <a:pathLst>
                <a:path w="213680" h="165568" extrusionOk="0">
                  <a:moveTo>
                    <a:pt x="196496" y="5"/>
                  </a:moveTo>
                  <a:cubicBezTo>
                    <a:pt x="170931" y="20864"/>
                    <a:pt x="132345" y="9530"/>
                    <a:pt x="130445" y="11054"/>
                  </a:cubicBezTo>
                  <a:cubicBezTo>
                    <a:pt x="104404" y="37247"/>
                    <a:pt x="65819" y="59726"/>
                    <a:pt x="36927" y="82491"/>
                  </a:cubicBezTo>
                  <a:cubicBezTo>
                    <a:pt x="20961" y="95064"/>
                    <a:pt x="-3939" y="111924"/>
                    <a:pt x="528" y="136022"/>
                  </a:cubicBezTo>
                  <a:cubicBezTo>
                    <a:pt x="8606" y="179265"/>
                    <a:pt x="77604" y="165930"/>
                    <a:pt x="103644" y="152786"/>
                  </a:cubicBezTo>
                  <a:cubicBezTo>
                    <a:pt x="129684" y="139641"/>
                    <a:pt x="151163" y="117638"/>
                    <a:pt x="175588" y="102303"/>
                  </a:cubicBezTo>
                  <a:cubicBezTo>
                    <a:pt x="193170" y="91350"/>
                    <a:pt x="210466" y="85634"/>
                    <a:pt x="213603" y="63441"/>
                  </a:cubicBezTo>
                  <a:cubicBezTo>
                    <a:pt x="214838" y="50011"/>
                    <a:pt x="201058" y="-567"/>
                    <a:pt x="196496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3" name="Google Shape;847;p18">
              <a:extLst>
                <a:ext uri="{FF2B5EF4-FFF2-40B4-BE49-F238E27FC236}">
                  <a16:creationId xmlns:a16="http://schemas.microsoft.com/office/drawing/2014/main" id="{53F36C23-6C18-41D2-803F-CB0D6BEE7A53}"/>
                </a:ext>
              </a:extLst>
            </p:cNvPr>
            <p:cNvSpPr/>
            <p:nvPr/>
          </p:nvSpPr>
          <p:spPr>
            <a:xfrm>
              <a:off x="5927737" y="2249998"/>
              <a:ext cx="171800" cy="89748"/>
            </a:xfrm>
            <a:custGeom>
              <a:avLst/>
              <a:gdLst/>
              <a:ahLst/>
              <a:cxnLst/>
              <a:rect l="l" t="t" r="r" b="b"/>
              <a:pathLst>
                <a:path w="212755" h="111143" extrusionOk="0">
                  <a:moveTo>
                    <a:pt x="212124" y="0"/>
                  </a:moveTo>
                  <a:cubicBezTo>
                    <a:pt x="208798" y="21241"/>
                    <a:pt x="191691" y="27146"/>
                    <a:pt x="174109" y="38100"/>
                  </a:cubicBezTo>
                  <a:cubicBezTo>
                    <a:pt x="149019" y="53721"/>
                    <a:pt x="126590" y="76200"/>
                    <a:pt x="100930" y="89344"/>
                  </a:cubicBezTo>
                  <a:cubicBezTo>
                    <a:pt x="76886" y="101632"/>
                    <a:pt x="16917" y="113728"/>
                    <a:pt x="0" y="82867"/>
                  </a:cubicBezTo>
                  <a:cubicBezTo>
                    <a:pt x="9504" y="124492"/>
                    <a:pt x="76980" y="111442"/>
                    <a:pt x="102736" y="98393"/>
                  </a:cubicBezTo>
                  <a:cubicBezTo>
                    <a:pt x="128491" y="85344"/>
                    <a:pt x="150255" y="63246"/>
                    <a:pt x="174679" y="47911"/>
                  </a:cubicBezTo>
                  <a:cubicBezTo>
                    <a:pt x="192261" y="36957"/>
                    <a:pt x="209558" y="31242"/>
                    <a:pt x="212694" y="9049"/>
                  </a:cubicBezTo>
                  <a:cubicBezTo>
                    <a:pt x="212866" y="6020"/>
                    <a:pt x="212676" y="2981"/>
                    <a:pt x="212124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4" name="Google Shape;848;p18">
              <a:extLst>
                <a:ext uri="{FF2B5EF4-FFF2-40B4-BE49-F238E27FC236}">
                  <a16:creationId xmlns:a16="http://schemas.microsoft.com/office/drawing/2014/main" id="{5ACE18F2-939C-4006-B8D1-A02D61845A0E}"/>
                </a:ext>
              </a:extLst>
            </p:cNvPr>
            <p:cNvSpPr/>
            <p:nvPr/>
          </p:nvSpPr>
          <p:spPr>
            <a:xfrm>
              <a:off x="5955035" y="963103"/>
              <a:ext cx="368082" cy="1288142"/>
            </a:xfrm>
            <a:custGeom>
              <a:avLst/>
              <a:gdLst/>
              <a:ahLst/>
              <a:cxnLst/>
              <a:rect l="l" t="t" r="r" b="b"/>
              <a:pathLst>
                <a:path w="455829" h="1595222" extrusionOk="0">
                  <a:moveTo>
                    <a:pt x="11434" y="236696"/>
                  </a:moveTo>
                  <a:cubicBezTo>
                    <a:pt x="23694" y="140208"/>
                    <a:pt x="58953" y="0"/>
                    <a:pt x="58953" y="0"/>
                  </a:cubicBezTo>
                  <a:cubicBezTo>
                    <a:pt x="92720" y="15859"/>
                    <a:pt x="129281" y="24889"/>
                    <a:pt x="166536" y="26575"/>
                  </a:cubicBezTo>
                  <a:cubicBezTo>
                    <a:pt x="228691" y="29718"/>
                    <a:pt x="328101" y="10859"/>
                    <a:pt x="328101" y="10859"/>
                  </a:cubicBezTo>
                  <a:cubicBezTo>
                    <a:pt x="345540" y="41281"/>
                    <a:pt x="364576" y="70752"/>
                    <a:pt x="385123" y="99155"/>
                  </a:cubicBezTo>
                  <a:cubicBezTo>
                    <a:pt x="412875" y="137731"/>
                    <a:pt x="466856" y="222409"/>
                    <a:pt x="453836" y="370332"/>
                  </a:cubicBezTo>
                  <a:cubicBezTo>
                    <a:pt x="445282" y="467011"/>
                    <a:pt x="391301" y="877443"/>
                    <a:pt x="391301" y="877443"/>
                  </a:cubicBezTo>
                  <a:cubicBezTo>
                    <a:pt x="412295" y="946490"/>
                    <a:pt x="423452" y="1018156"/>
                    <a:pt x="424469" y="1090327"/>
                  </a:cubicBezTo>
                  <a:cubicBezTo>
                    <a:pt x="423899" y="1150048"/>
                    <a:pt x="408218" y="1251490"/>
                    <a:pt x="390635" y="1345311"/>
                  </a:cubicBezTo>
                  <a:lnTo>
                    <a:pt x="358418" y="1578293"/>
                  </a:lnTo>
                  <a:cubicBezTo>
                    <a:pt x="358418" y="1578293"/>
                    <a:pt x="315556" y="1609344"/>
                    <a:pt x="284953" y="1587341"/>
                  </a:cubicBezTo>
                  <a:lnTo>
                    <a:pt x="288850" y="1359408"/>
                  </a:lnTo>
                  <a:cubicBezTo>
                    <a:pt x="285049" y="1303592"/>
                    <a:pt x="279346" y="1221296"/>
                    <a:pt x="276020" y="1168908"/>
                  </a:cubicBezTo>
                  <a:cubicBezTo>
                    <a:pt x="270223" y="1083183"/>
                    <a:pt x="254921" y="947356"/>
                    <a:pt x="250550" y="913352"/>
                  </a:cubicBezTo>
                  <a:cubicBezTo>
                    <a:pt x="246178" y="879348"/>
                    <a:pt x="235249" y="820103"/>
                    <a:pt x="230117" y="753618"/>
                  </a:cubicBezTo>
                  <a:cubicBezTo>
                    <a:pt x="224985" y="687134"/>
                    <a:pt x="199895" y="349282"/>
                    <a:pt x="199895" y="349282"/>
                  </a:cubicBezTo>
                  <a:lnTo>
                    <a:pt x="196473" y="412528"/>
                  </a:lnTo>
                  <a:cubicBezTo>
                    <a:pt x="196473" y="412528"/>
                    <a:pt x="193147" y="515303"/>
                    <a:pt x="178416" y="641985"/>
                  </a:cubicBezTo>
                  <a:cubicBezTo>
                    <a:pt x="163685" y="768668"/>
                    <a:pt x="158553" y="824960"/>
                    <a:pt x="158553" y="824960"/>
                  </a:cubicBezTo>
                  <a:cubicBezTo>
                    <a:pt x="158553" y="824960"/>
                    <a:pt x="184118" y="872109"/>
                    <a:pt x="187065" y="906780"/>
                  </a:cubicBezTo>
                  <a:cubicBezTo>
                    <a:pt x="189630" y="934212"/>
                    <a:pt x="220898" y="1150906"/>
                    <a:pt x="202271" y="1261110"/>
                  </a:cubicBezTo>
                  <a:lnTo>
                    <a:pt x="164256" y="1541336"/>
                  </a:lnTo>
                  <a:cubicBezTo>
                    <a:pt x="144782" y="1554832"/>
                    <a:pt x="120015" y="1558090"/>
                    <a:pt x="97729" y="1550098"/>
                  </a:cubicBezTo>
                  <a:lnTo>
                    <a:pt x="75205" y="1267682"/>
                  </a:lnTo>
                  <a:cubicBezTo>
                    <a:pt x="60094" y="1160145"/>
                    <a:pt x="27686" y="932307"/>
                    <a:pt x="23124" y="902684"/>
                  </a:cubicBezTo>
                  <a:cubicBezTo>
                    <a:pt x="16662" y="863727"/>
                    <a:pt x="11340" y="844487"/>
                    <a:pt x="4117" y="721709"/>
                  </a:cubicBezTo>
                  <a:cubicBezTo>
                    <a:pt x="-3106" y="598932"/>
                    <a:pt x="-920" y="333185"/>
                    <a:pt x="11434" y="236696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5" name="Google Shape;849;p18">
              <a:extLst>
                <a:ext uri="{FF2B5EF4-FFF2-40B4-BE49-F238E27FC236}">
                  <a16:creationId xmlns:a16="http://schemas.microsoft.com/office/drawing/2014/main" id="{52783972-172F-48D9-AAEC-F957134916E7}"/>
                </a:ext>
              </a:extLst>
            </p:cNvPr>
            <p:cNvSpPr/>
            <p:nvPr/>
          </p:nvSpPr>
          <p:spPr>
            <a:xfrm>
              <a:off x="5939457" y="937334"/>
              <a:ext cx="391797" cy="856741"/>
            </a:xfrm>
            <a:custGeom>
              <a:avLst/>
              <a:gdLst/>
              <a:ahLst/>
              <a:cxnLst/>
              <a:rect l="l" t="t" r="r" b="b"/>
              <a:pathLst>
                <a:path w="485198" h="1060979" extrusionOk="0">
                  <a:moveTo>
                    <a:pt x="347391" y="12859"/>
                  </a:moveTo>
                  <a:lnTo>
                    <a:pt x="430264" y="179832"/>
                  </a:lnTo>
                  <a:cubicBezTo>
                    <a:pt x="430264" y="179832"/>
                    <a:pt x="556855" y="365474"/>
                    <a:pt x="425702" y="842772"/>
                  </a:cubicBezTo>
                  <a:lnTo>
                    <a:pt x="450317" y="990029"/>
                  </a:lnTo>
                  <a:cubicBezTo>
                    <a:pt x="450317" y="990029"/>
                    <a:pt x="202078" y="1149668"/>
                    <a:pt x="35952" y="990029"/>
                  </a:cubicBezTo>
                  <a:cubicBezTo>
                    <a:pt x="35952" y="990029"/>
                    <a:pt x="-21641" y="548926"/>
                    <a:pt x="8961" y="345567"/>
                  </a:cubicBezTo>
                  <a:cubicBezTo>
                    <a:pt x="26011" y="228591"/>
                    <a:pt x="51871" y="113071"/>
                    <a:pt x="86322" y="0"/>
                  </a:cubicBezTo>
                  <a:cubicBezTo>
                    <a:pt x="86322" y="0"/>
                    <a:pt x="126998" y="45053"/>
                    <a:pt x="336367" y="15335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6" name="Google Shape;850;p18">
              <a:extLst>
                <a:ext uri="{FF2B5EF4-FFF2-40B4-BE49-F238E27FC236}">
                  <a16:creationId xmlns:a16="http://schemas.microsoft.com/office/drawing/2014/main" id="{0E10A542-1FDD-436A-AC7A-642D8E13A3CB}"/>
                </a:ext>
              </a:extLst>
            </p:cNvPr>
            <p:cNvSpPr/>
            <p:nvPr/>
          </p:nvSpPr>
          <p:spPr>
            <a:xfrm>
              <a:off x="5733626" y="681017"/>
              <a:ext cx="564393" cy="492344"/>
            </a:xfrm>
            <a:custGeom>
              <a:avLst/>
              <a:gdLst/>
              <a:ahLst/>
              <a:cxnLst/>
              <a:rect l="l" t="t" r="r" b="b"/>
              <a:pathLst>
                <a:path w="698939" h="609714" extrusionOk="0">
                  <a:moveTo>
                    <a:pt x="82790" y="448837"/>
                  </a:moveTo>
                  <a:cubicBezTo>
                    <a:pt x="101798" y="452457"/>
                    <a:pt x="119950" y="448361"/>
                    <a:pt x="146561" y="455600"/>
                  </a:cubicBezTo>
                  <a:cubicBezTo>
                    <a:pt x="166452" y="461905"/>
                    <a:pt x="187190" y="465125"/>
                    <a:pt x="208050" y="465125"/>
                  </a:cubicBezTo>
                  <a:cubicBezTo>
                    <a:pt x="230669" y="465125"/>
                    <a:pt x="294155" y="433407"/>
                    <a:pt x="348611" y="395116"/>
                  </a:cubicBezTo>
                  <a:cubicBezTo>
                    <a:pt x="412762" y="350063"/>
                    <a:pt x="476437" y="272244"/>
                    <a:pt x="499436" y="234811"/>
                  </a:cubicBezTo>
                  <a:cubicBezTo>
                    <a:pt x="548951" y="154038"/>
                    <a:pt x="596375" y="70695"/>
                    <a:pt x="611011" y="28023"/>
                  </a:cubicBezTo>
                  <a:cubicBezTo>
                    <a:pt x="628498" y="-23222"/>
                    <a:pt x="628118" y="11640"/>
                    <a:pt x="658530" y="10878"/>
                  </a:cubicBezTo>
                  <a:cubicBezTo>
                    <a:pt x="693979" y="10020"/>
                    <a:pt x="713082" y="23070"/>
                    <a:pt x="686471" y="92602"/>
                  </a:cubicBezTo>
                  <a:cubicBezTo>
                    <a:pt x="659860" y="162135"/>
                    <a:pt x="635626" y="210522"/>
                    <a:pt x="576322" y="292627"/>
                  </a:cubicBezTo>
                  <a:cubicBezTo>
                    <a:pt x="532918" y="354245"/>
                    <a:pt x="479260" y="407918"/>
                    <a:pt x="417704" y="451314"/>
                  </a:cubicBezTo>
                  <a:cubicBezTo>
                    <a:pt x="363608" y="489280"/>
                    <a:pt x="305151" y="520589"/>
                    <a:pt x="243595" y="544563"/>
                  </a:cubicBezTo>
                  <a:cubicBezTo>
                    <a:pt x="225823" y="551898"/>
                    <a:pt x="214513" y="561709"/>
                    <a:pt x="182295" y="579615"/>
                  </a:cubicBezTo>
                  <a:cubicBezTo>
                    <a:pt x="150381" y="597951"/>
                    <a:pt x="114514" y="608276"/>
                    <a:pt x="77753" y="609714"/>
                  </a:cubicBezTo>
                  <a:cubicBezTo>
                    <a:pt x="46961" y="608953"/>
                    <a:pt x="35937" y="603809"/>
                    <a:pt x="33371" y="597522"/>
                  </a:cubicBezTo>
                  <a:cubicBezTo>
                    <a:pt x="30139" y="589617"/>
                    <a:pt x="36127" y="584188"/>
                    <a:pt x="50193" y="582854"/>
                  </a:cubicBezTo>
                  <a:cubicBezTo>
                    <a:pt x="72688" y="582521"/>
                    <a:pt x="94936" y="578101"/>
                    <a:pt x="115864" y="569805"/>
                  </a:cubicBezTo>
                  <a:cubicBezTo>
                    <a:pt x="115864" y="569805"/>
                    <a:pt x="85166" y="574186"/>
                    <a:pt x="66634" y="575139"/>
                  </a:cubicBezTo>
                  <a:cubicBezTo>
                    <a:pt x="50088" y="576034"/>
                    <a:pt x="33504" y="574729"/>
                    <a:pt x="17310" y="571234"/>
                  </a:cubicBezTo>
                  <a:cubicBezTo>
                    <a:pt x="1723" y="567519"/>
                    <a:pt x="-7020" y="545421"/>
                    <a:pt x="7140" y="543706"/>
                  </a:cubicBezTo>
                  <a:cubicBezTo>
                    <a:pt x="21301" y="541992"/>
                    <a:pt x="32706" y="544659"/>
                    <a:pt x="60267" y="542849"/>
                  </a:cubicBezTo>
                  <a:cubicBezTo>
                    <a:pt x="74845" y="541935"/>
                    <a:pt x="89272" y="539277"/>
                    <a:pt x="103224" y="534943"/>
                  </a:cubicBezTo>
                  <a:cubicBezTo>
                    <a:pt x="84805" y="535105"/>
                    <a:pt x="66396" y="533772"/>
                    <a:pt x="48197" y="530943"/>
                  </a:cubicBezTo>
                  <a:cubicBezTo>
                    <a:pt x="33390" y="529543"/>
                    <a:pt x="19296" y="523885"/>
                    <a:pt x="7615" y="514655"/>
                  </a:cubicBezTo>
                  <a:cubicBezTo>
                    <a:pt x="1628" y="509702"/>
                    <a:pt x="583" y="495605"/>
                    <a:pt x="18450" y="495605"/>
                  </a:cubicBezTo>
                  <a:cubicBezTo>
                    <a:pt x="34511" y="495605"/>
                    <a:pt x="54659" y="503035"/>
                    <a:pt x="84976" y="498844"/>
                  </a:cubicBezTo>
                  <a:cubicBezTo>
                    <a:pt x="107310" y="495700"/>
                    <a:pt x="122992" y="490462"/>
                    <a:pt x="119190" y="487509"/>
                  </a:cubicBezTo>
                  <a:cubicBezTo>
                    <a:pt x="115388" y="484556"/>
                    <a:pt x="102748" y="487509"/>
                    <a:pt x="84311" y="480746"/>
                  </a:cubicBezTo>
                  <a:cubicBezTo>
                    <a:pt x="65874" y="473983"/>
                    <a:pt x="52949" y="457791"/>
                    <a:pt x="57225" y="448075"/>
                  </a:cubicBezTo>
                  <a:cubicBezTo>
                    <a:pt x="61502" y="438360"/>
                    <a:pt x="63593" y="445313"/>
                    <a:pt x="82790" y="448837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7" name="Google Shape;851;p18">
              <a:extLst>
                <a:ext uri="{FF2B5EF4-FFF2-40B4-BE49-F238E27FC236}">
                  <a16:creationId xmlns:a16="http://schemas.microsoft.com/office/drawing/2014/main" id="{FC4496FD-B92E-42AB-8619-7B1C2EA475F3}"/>
                </a:ext>
              </a:extLst>
            </p:cNvPr>
            <p:cNvSpPr/>
            <p:nvPr/>
          </p:nvSpPr>
          <p:spPr>
            <a:xfrm>
              <a:off x="6171801" y="649512"/>
              <a:ext cx="135912" cy="159574"/>
            </a:xfrm>
            <a:custGeom>
              <a:avLst/>
              <a:gdLst/>
              <a:ahLst/>
              <a:cxnLst/>
              <a:rect l="l" t="t" r="r" b="b"/>
              <a:pathLst>
                <a:path w="168312" h="197615" extrusionOk="0">
                  <a:moveTo>
                    <a:pt x="127446" y="197527"/>
                  </a:moveTo>
                  <a:cubicBezTo>
                    <a:pt x="127446" y="197527"/>
                    <a:pt x="46188" y="201813"/>
                    <a:pt x="0" y="150759"/>
                  </a:cubicBezTo>
                  <a:lnTo>
                    <a:pt x="50085" y="45984"/>
                  </a:lnTo>
                  <a:cubicBezTo>
                    <a:pt x="50085" y="45984"/>
                    <a:pt x="73179" y="-12023"/>
                    <a:pt x="127351" y="2264"/>
                  </a:cubicBezTo>
                  <a:cubicBezTo>
                    <a:pt x="181522" y="16552"/>
                    <a:pt x="182378" y="92942"/>
                    <a:pt x="127446" y="19752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8" name="Google Shape;852;p18">
              <a:extLst>
                <a:ext uri="{FF2B5EF4-FFF2-40B4-BE49-F238E27FC236}">
                  <a16:creationId xmlns:a16="http://schemas.microsoft.com/office/drawing/2014/main" id="{76E47F4C-4317-42DB-AC87-1E2C9938713F}"/>
                </a:ext>
              </a:extLst>
            </p:cNvPr>
            <p:cNvSpPr/>
            <p:nvPr/>
          </p:nvSpPr>
          <p:spPr>
            <a:xfrm>
              <a:off x="5953447" y="594810"/>
              <a:ext cx="109819" cy="115441"/>
            </a:xfrm>
            <a:custGeom>
              <a:avLst/>
              <a:gdLst/>
              <a:ahLst/>
              <a:cxnLst/>
              <a:rect l="l" t="t" r="r" b="b"/>
              <a:pathLst>
                <a:path w="135999" h="142961" extrusionOk="0">
                  <a:moveTo>
                    <a:pt x="135999" y="944"/>
                  </a:moveTo>
                  <a:cubicBezTo>
                    <a:pt x="135999" y="944"/>
                    <a:pt x="70043" y="-19249"/>
                    <a:pt x="0" y="127150"/>
                  </a:cubicBezTo>
                  <a:lnTo>
                    <a:pt x="26231" y="142962"/>
                  </a:lnTo>
                  <a:cubicBezTo>
                    <a:pt x="26231" y="142962"/>
                    <a:pt x="95133" y="38473"/>
                    <a:pt x="135999" y="944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Isosceles Triangle 113">
            <a:extLst>
              <a:ext uri="{FF2B5EF4-FFF2-40B4-BE49-F238E27FC236}">
                <a16:creationId xmlns:a16="http://schemas.microsoft.com/office/drawing/2014/main" id="{260AFF55-DF89-45D2-9220-FC18CBC23E5D}"/>
              </a:ext>
            </a:extLst>
          </p:cNvPr>
          <p:cNvSpPr/>
          <p:nvPr/>
        </p:nvSpPr>
        <p:spPr>
          <a:xfrm rot="5400000">
            <a:off x="-373967" y="1444855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948091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790A2B-6095-4F44-8EA0-3CC1EA22E5A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33671" y="1122361"/>
            <a:ext cx="1934816" cy="547411"/>
          </a:xfrm>
        </p:spPr>
        <p:txBody>
          <a:bodyPr/>
          <a:lstStyle/>
          <a:p>
            <a:r>
              <a:rPr lang="en-US" sz="4000"/>
              <a:t>Bài 3: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07F680F-F140-40F4-BE08-2A125B8CE82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773239"/>
            <a:ext cx="9144000" cy="1655762"/>
          </a:xfrm>
        </p:spPr>
        <p:txBody>
          <a:bodyPr/>
          <a:lstStyle/>
          <a:p>
            <a:pPr algn="l"/>
            <a:r>
              <a:rPr lang="en-US"/>
              <a:t>Cho một khu vực gồm đất liền và vùng nước. Đảo là tập hợp những vùng đất liền ở liền kề nhau và được bao bọc bởi vùng nước xung quanh. Hỏi trong khu vực này có bao nhiêu hòn đảo?</a:t>
            </a: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BE3DCB1D-7405-485A-98A0-4D4705B2AF27}"/>
              </a:ext>
            </a:extLst>
          </p:cNvPr>
          <p:cNvSpPr/>
          <p:nvPr/>
        </p:nvSpPr>
        <p:spPr>
          <a:xfrm rot="5400000">
            <a:off x="-345132" y="1024277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Island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2F28147A-4C48-450B-801D-6C386AE9DAC7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>
            <a:off x="2712720" y="4529096"/>
            <a:ext cx="3992880" cy="2328904"/>
          </a:xfrm>
          <a:custGeom>
            <a:avLst/>
            <a:gdLst>
              <a:gd name="T0" fmla="*/ 1216 w 1252"/>
              <a:gd name="T1" fmla="*/ 217 h 717"/>
              <a:gd name="T2" fmla="*/ 1138 w 1252"/>
              <a:gd name="T3" fmla="*/ 159 h 717"/>
              <a:gd name="T4" fmla="*/ 1157 w 1252"/>
              <a:gd name="T5" fmla="*/ 143 h 717"/>
              <a:gd name="T6" fmla="*/ 1180 w 1252"/>
              <a:gd name="T7" fmla="*/ 131 h 717"/>
              <a:gd name="T8" fmla="*/ 1177 w 1252"/>
              <a:gd name="T9" fmla="*/ 107 h 717"/>
              <a:gd name="T10" fmla="*/ 1120 w 1252"/>
              <a:gd name="T11" fmla="*/ 100 h 717"/>
              <a:gd name="T12" fmla="*/ 1075 w 1252"/>
              <a:gd name="T13" fmla="*/ 107 h 717"/>
              <a:gd name="T14" fmla="*/ 982 w 1252"/>
              <a:gd name="T15" fmla="*/ 16 h 717"/>
              <a:gd name="T16" fmla="*/ 907 w 1252"/>
              <a:gd name="T17" fmla="*/ 8 h 717"/>
              <a:gd name="T18" fmla="*/ 914 w 1252"/>
              <a:gd name="T19" fmla="*/ 25 h 717"/>
              <a:gd name="T20" fmla="*/ 991 w 1252"/>
              <a:gd name="T21" fmla="*/ 91 h 717"/>
              <a:gd name="T22" fmla="*/ 908 w 1252"/>
              <a:gd name="T23" fmla="*/ 78 h 717"/>
              <a:gd name="T24" fmla="*/ 737 w 1252"/>
              <a:gd name="T25" fmla="*/ 125 h 717"/>
              <a:gd name="T26" fmla="*/ 748 w 1252"/>
              <a:gd name="T27" fmla="*/ 147 h 717"/>
              <a:gd name="T28" fmla="*/ 825 w 1252"/>
              <a:gd name="T29" fmla="*/ 131 h 717"/>
              <a:gd name="T30" fmla="*/ 933 w 1252"/>
              <a:gd name="T31" fmla="*/ 149 h 717"/>
              <a:gd name="T32" fmla="*/ 882 w 1252"/>
              <a:gd name="T33" fmla="*/ 179 h 717"/>
              <a:gd name="T34" fmla="*/ 851 w 1252"/>
              <a:gd name="T35" fmla="*/ 224 h 717"/>
              <a:gd name="T36" fmla="*/ 869 w 1252"/>
              <a:gd name="T37" fmla="*/ 228 h 717"/>
              <a:gd name="T38" fmla="*/ 936 w 1252"/>
              <a:gd name="T39" fmla="*/ 214 h 717"/>
              <a:gd name="T40" fmla="*/ 945 w 1252"/>
              <a:gd name="T41" fmla="*/ 221 h 717"/>
              <a:gd name="T42" fmla="*/ 796 w 1252"/>
              <a:gd name="T43" fmla="*/ 448 h 717"/>
              <a:gd name="T44" fmla="*/ 609 w 1252"/>
              <a:gd name="T45" fmla="*/ 465 h 717"/>
              <a:gd name="T46" fmla="*/ 642 w 1252"/>
              <a:gd name="T47" fmla="*/ 366 h 717"/>
              <a:gd name="T48" fmla="*/ 469 w 1252"/>
              <a:gd name="T49" fmla="*/ 157 h 717"/>
              <a:gd name="T50" fmla="*/ 236 w 1252"/>
              <a:gd name="T51" fmla="*/ 341 h 717"/>
              <a:gd name="T52" fmla="*/ 279 w 1252"/>
              <a:gd name="T53" fmla="*/ 366 h 717"/>
              <a:gd name="T54" fmla="*/ 0 w 1252"/>
              <a:gd name="T55" fmla="*/ 685 h 717"/>
              <a:gd name="T56" fmla="*/ 160 w 1252"/>
              <a:gd name="T57" fmla="*/ 697 h 717"/>
              <a:gd name="T58" fmla="*/ 347 w 1252"/>
              <a:gd name="T59" fmla="*/ 697 h 717"/>
              <a:gd name="T60" fmla="*/ 540 w 1252"/>
              <a:gd name="T61" fmla="*/ 697 h 717"/>
              <a:gd name="T62" fmla="*/ 727 w 1252"/>
              <a:gd name="T63" fmla="*/ 697 h 717"/>
              <a:gd name="T64" fmla="*/ 919 w 1252"/>
              <a:gd name="T65" fmla="*/ 697 h 717"/>
              <a:gd name="T66" fmla="*/ 1106 w 1252"/>
              <a:gd name="T67" fmla="*/ 697 h 717"/>
              <a:gd name="T68" fmla="*/ 1241 w 1252"/>
              <a:gd name="T69" fmla="*/ 679 h 717"/>
              <a:gd name="T70" fmla="*/ 873 w 1252"/>
              <a:gd name="T71" fmla="*/ 466 h 717"/>
              <a:gd name="T72" fmla="*/ 974 w 1252"/>
              <a:gd name="T73" fmla="*/ 253 h 717"/>
              <a:gd name="T74" fmla="*/ 1017 w 1252"/>
              <a:gd name="T75" fmla="*/ 230 h 717"/>
              <a:gd name="T76" fmla="*/ 1028 w 1252"/>
              <a:gd name="T77" fmla="*/ 233 h 717"/>
              <a:gd name="T78" fmla="*/ 1048 w 1252"/>
              <a:gd name="T79" fmla="*/ 303 h 717"/>
              <a:gd name="T80" fmla="*/ 1047 w 1252"/>
              <a:gd name="T81" fmla="*/ 343 h 717"/>
              <a:gd name="T82" fmla="*/ 1069 w 1252"/>
              <a:gd name="T83" fmla="*/ 352 h 717"/>
              <a:gd name="T84" fmla="*/ 1101 w 1252"/>
              <a:gd name="T85" fmla="*/ 262 h 717"/>
              <a:gd name="T86" fmla="*/ 1143 w 1252"/>
              <a:gd name="T87" fmla="*/ 231 h 717"/>
              <a:gd name="T88" fmla="*/ 1227 w 1252"/>
              <a:gd name="T89" fmla="*/ 280 h 717"/>
              <a:gd name="T90" fmla="*/ 1243 w 1252"/>
              <a:gd name="T91" fmla="*/ 284 h 7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252" h="717">
                <a:moveTo>
                  <a:pt x="1249" y="268"/>
                </a:moveTo>
                <a:cubicBezTo>
                  <a:pt x="1240" y="248"/>
                  <a:pt x="1229" y="232"/>
                  <a:pt x="1216" y="217"/>
                </a:cubicBezTo>
                <a:cubicBezTo>
                  <a:pt x="1202" y="202"/>
                  <a:pt x="1187" y="188"/>
                  <a:pt x="1169" y="176"/>
                </a:cubicBezTo>
                <a:cubicBezTo>
                  <a:pt x="1159" y="170"/>
                  <a:pt x="1149" y="164"/>
                  <a:pt x="1138" y="159"/>
                </a:cubicBezTo>
                <a:cubicBezTo>
                  <a:pt x="1138" y="158"/>
                  <a:pt x="1139" y="158"/>
                  <a:pt x="1139" y="157"/>
                </a:cubicBezTo>
                <a:cubicBezTo>
                  <a:pt x="1145" y="153"/>
                  <a:pt x="1151" y="148"/>
                  <a:pt x="1157" y="143"/>
                </a:cubicBezTo>
                <a:cubicBezTo>
                  <a:pt x="1164" y="139"/>
                  <a:pt x="1171" y="135"/>
                  <a:pt x="1178" y="131"/>
                </a:cubicBezTo>
                <a:lnTo>
                  <a:pt x="1180" y="131"/>
                </a:lnTo>
                <a:cubicBezTo>
                  <a:pt x="1183" y="129"/>
                  <a:pt x="1185" y="126"/>
                  <a:pt x="1186" y="122"/>
                </a:cubicBezTo>
                <a:cubicBezTo>
                  <a:pt x="1188" y="115"/>
                  <a:pt x="1184" y="108"/>
                  <a:pt x="1177" y="107"/>
                </a:cubicBezTo>
                <a:cubicBezTo>
                  <a:pt x="1167" y="104"/>
                  <a:pt x="1158" y="103"/>
                  <a:pt x="1149" y="101"/>
                </a:cubicBezTo>
                <a:cubicBezTo>
                  <a:pt x="1140" y="100"/>
                  <a:pt x="1130" y="100"/>
                  <a:pt x="1120" y="100"/>
                </a:cubicBezTo>
                <a:cubicBezTo>
                  <a:pt x="1110" y="100"/>
                  <a:pt x="1100" y="101"/>
                  <a:pt x="1089" y="103"/>
                </a:cubicBezTo>
                <a:cubicBezTo>
                  <a:pt x="1085" y="104"/>
                  <a:pt x="1080" y="105"/>
                  <a:pt x="1075" y="107"/>
                </a:cubicBezTo>
                <a:cubicBezTo>
                  <a:pt x="1066" y="88"/>
                  <a:pt x="1054" y="69"/>
                  <a:pt x="1039" y="54"/>
                </a:cubicBezTo>
                <a:cubicBezTo>
                  <a:pt x="1023" y="37"/>
                  <a:pt x="1002" y="24"/>
                  <a:pt x="982" y="16"/>
                </a:cubicBezTo>
                <a:cubicBezTo>
                  <a:pt x="961" y="7"/>
                  <a:pt x="941" y="3"/>
                  <a:pt x="921" y="1"/>
                </a:cubicBezTo>
                <a:cubicBezTo>
                  <a:pt x="915" y="0"/>
                  <a:pt x="910" y="3"/>
                  <a:pt x="907" y="8"/>
                </a:cubicBezTo>
                <a:cubicBezTo>
                  <a:pt x="905" y="14"/>
                  <a:pt x="907" y="22"/>
                  <a:pt x="914" y="25"/>
                </a:cubicBezTo>
                <a:lnTo>
                  <a:pt x="914" y="25"/>
                </a:lnTo>
                <a:cubicBezTo>
                  <a:pt x="931" y="33"/>
                  <a:pt x="947" y="42"/>
                  <a:pt x="961" y="53"/>
                </a:cubicBezTo>
                <a:cubicBezTo>
                  <a:pt x="974" y="64"/>
                  <a:pt x="984" y="77"/>
                  <a:pt x="991" y="91"/>
                </a:cubicBezTo>
                <a:cubicBezTo>
                  <a:pt x="991" y="91"/>
                  <a:pt x="991" y="92"/>
                  <a:pt x="992" y="92"/>
                </a:cubicBezTo>
                <a:cubicBezTo>
                  <a:pt x="964" y="83"/>
                  <a:pt x="936" y="79"/>
                  <a:pt x="908" y="78"/>
                </a:cubicBezTo>
                <a:cubicBezTo>
                  <a:pt x="877" y="77"/>
                  <a:pt x="847" y="81"/>
                  <a:pt x="818" y="89"/>
                </a:cubicBezTo>
                <a:cubicBezTo>
                  <a:pt x="789" y="97"/>
                  <a:pt x="761" y="108"/>
                  <a:pt x="737" y="125"/>
                </a:cubicBezTo>
                <a:cubicBezTo>
                  <a:pt x="732" y="128"/>
                  <a:pt x="730" y="134"/>
                  <a:pt x="732" y="140"/>
                </a:cubicBezTo>
                <a:cubicBezTo>
                  <a:pt x="734" y="146"/>
                  <a:pt x="742" y="149"/>
                  <a:pt x="748" y="147"/>
                </a:cubicBezTo>
                <a:lnTo>
                  <a:pt x="748" y="147"/>
                </a:lnTo>
                <a:cubicBezTo>
                  <a:pt x="773" y="137"/>
                  <a:pt x="799" y="133"/>
                  <a:pt x="825" y="131"/>
                </a:cubicBezTo>
                <a:cubicBezTo>
                  <a:pt x="851" y="130"/>
                  <a:pt x="877" y="133"/>
                  <a:pt x="901" y="138"/>
                </a:cubicBezTo>
                <a:cubicBezTo>
                  <a:pt x="912" y="141"/>
                  <a:pt x="923" y="145"/>
                  <a:pt x="933" y="149"/>
                </a:cubicBezTo>
                <a:cubicBezTo>
                  <a:pt x="929" y="151"/>
                  <a:pt x="924" y="153"/>
                  <a:pt x="919" y="156"/>
                </a:cubicBezTo>
                <a:cubicBezTo>
                  <a:pt x="906" y="162"/>
                  <a:pt x="894" y="170"/>
                  <a:pt x="882" y="179"/>
                </a:cubicBezTo>
                <a:cubicBezTo>
                  <a:pt x="871" y="188"/>
                  <a:pt x="860" y="198"/>
                  <a:pt x="851" y="211"/>
                </a:cubicBezTo>
                <a:cubicBezTo>
                  <a:pt x="849" y="215"/>
                  <a:pt x="848" y="220"/>
                  <a:pt x="851" y="224"/>
                </a:cubicBezTo>
                <a:cubicBezTo>
                  <a:pt x="854" y="230"/>
                  <a:pt x="862" y="233"/>
                  <a:pt x="868" y="229"/>
                </a:cubicBezTo>
                <a:lnTo>
                  <a:pt x="869" y="228"/>
                </a:lnTo>
                <a:cubicBezTo>
                  <a:pt x="878" y="223"/>
                  <a:pt x="890" y="220"/>
                  <a:pt x="901" y="218"/>
                </a:cubicBezTo>
                <a:cubicBezTo>
                  <a:pt x="912" y="215"/>
                  <a:pt x="924" y="214"/>
                  <a:pt x="936" y="214"/>
                </a:cubicBezTo>
                <a:cubicBezTo>
                  <a:pt x="942" y="214"/>
                  <a:pt x="948" y="214"/>
                  <a:pt x="954" y="214"/>
                </a:cubicBezTo>
                <a:cubicBezTo>
                  <a:pt x="951" y="217"/>
                  <a:pt x="948" y="219"/>
                  <a:pt x="945" y="221"/>
                </a:cubicBezTo>
                <a:cubicBezTo>
                  <a:pt x="909" y="250"/>
                  <a:pt x="879" y="284"/>
                  <a:pt x="854" y="323"/>
                </a:cubicBezTo>
                <a:cubicBezTo>
                  <a:pt x="828" y="361"/>
                  <a:pt x="809" y="404"/>
                  <a:pt x="796" y="448"/>
                </a:cubicBezTo>
                <a:cubicBezTo>
                  <a:pt x="793" y="459"/>
                  <a:pt x="790" y="469"/>
                  <a:pt x="788" y="480"/>
                </a:cubicBezTo>
                <a:cubicBezTo>
                  <a:pt x="729" y="470"/>
                  <a:pt x="669" y="465"/>
                  <a:pt x="609" y="465"/>
                </a:cubicBezTo>
                <a:lnTo>
                  <a:pt x="609" y="366"/>
                </a:lnTo>
                <a:lnTo>
                  <a:pt x="642" y="366"/>
                </a:lnTo>
                <a:cubicBezTo>
                  <a:pt x="661" y="366"/>
                  <a:pt x="666" y="354"/>
                  <a:pt x="652" y="341"/>
                </a:cubicBezTo>
                <a:lnTo>
                  <a:pt x="469" y="157"/>
                </a:lnTo>
                <a:cubicBezTo>
                  <a:pt x="455" y="143"/>
                  <a:pt x="433" y="143"/>
                  <a:pt x="419" y="157"/>
                </a:cubicBezTo>
                <a:lnTo>
                  <a:pt x="236" y="341"/>
                </a:lnTo>
                <a:cubicBezTo>
                  <a:pt x="222" y="354"/>
                  <a:pt x="227" y="366"/>
                  <a:pt x="246" y="366"/>
                </a:cubicBezTo>
                <a:lnTo>
                  <a:pt x="279" y="366"/>
                </a:lnTo>
                <a:lnTo>
                  <a:pt x="279" y="517"/>
                </a:lnTo>
                <a:cubicBezTo>
                  <a:pt x="171" y="554"/>
                  <a:pt x="75" y="610"/>
                  <a:pt x="0" y="685"/>
                </a:cubicBezTo>
                <a:cubicBezTo>
                  <a:pt x="20" y="679"/>
                  <a:pt x="42" y="675"/>
                  <a:pt x="64" y="675"/>
                </a:cubicBezTo>
                <a:cubicBezTo>
                  <a:pt x="98" y="675"/>
                  <a:pt x="131" y="683"/>
                  <a:pt x="160" y="697"/>
                </a:cubicBezTo>
                <a:cubicBezTo>
                  <a:pt x="188" y="710"/>
                  <a:pt x="220" y="717"/>
                  <a:pt x="253" y="717"/>
                </a:cubicBezTo>
                <a:cubicBezTo>
                  <a:pt x="287" y="717"/>
                  <a:pt x="319" y="710"/>
                  <a:pt x="347" y="697"/>
                </a:cubicBezTo>
                <a:cubicBezTo>
                  <a:pt x="376" y="683"/>
                  <a:pt x="409" y="675"/>
                  <a:pt x="443" y="675"/>
                </a:cubicBezTo>
                <a:cubicBezTo>
                  <a:pt x="477" y="675"/>
                  <a:pt x="510" y="683"/>
                  <a:pt x="540" y="697"/>
                </a:cubicBezTo>
                <a:cubicBezTo>
                  <a:pt x="568" y="710"/>
                  <a:pt x="600" y="717"/>
                  <a:pt x="633" y="717"/>
                </a:cubicBezTo>
                <a:cubicBezTo>
                  <a:pt x="666" y="717"/>
                  <a:pt x="698" y="710"/>
                  <a:pt x="727" y="697"/>
                </a:cubicBezTo>
                <a:cubicBezTo>
                  <a:pt x="756" y="683"/>
                  <a:pt x="789" y="675"/>
                  <a:pt x="823" y="675"/>
                </a:cubicBezTo>
                <a:cubicBezTo>
                  <a:pt x="857" y="675"/>
                  <a:pt x="890" y="683"/>
                  <a:pt x="919" y="697"/>
                </a:cubicBezTo>
                <a:cubicBezTo>
                  <a:pt x="947" y="710"/>
                  <a:pt x="979" y="717"/>
                  <a:pt x="1012" y="717"/>
                </a:cubicBezTo>
                <a:cubicBezTo>
                  <a:pt x="1046" y="717"/>
                  <a:pt x="1077" y="710"/>
                  <a:pt x="1106" y="697"/>
                </a:cubicBezTo>
                <a:cubicBezTo>
                  <a:pt x="1135" y="683"/>
                  <a:pt x="1168" y="675"/>
                  <a:pt x="1202" y="675"/>
                </a:cubicBezTo>
                <a:cubicBezTo>
                  <a:pt x="1215" y="675"/>
                  <a:pt x="1228" y="677"/>
                  <a:pt x="1241" y="679"/>
                </a:cubicBezTo>
                <a:cubicBezTo>
                  <a:pt x="1136" y="591"/>
                  <a:pt x="1007" y="530"/>
                  <a:pt x="869" y="497"/>
                </a:cubicBezTo>
                <a:cubicBezTo>
                  <a:pt x="870" y="486"/>
                  <a:pt x="871" y="476"/>
                  <a:pt x="873" y="466"/>
                </a:cubicBezTo>
                <a:cubicBezTo>
                  <a:pt x="878" y="427"/>
                  <a:pt x="889" y="388"/>
                  <a:pt x="906" y="352"/>
                </a:cubicBezTo>
                <a:cubicBezTo>
                  <a:pt x="923" y="316"/>
                  <a:pt x="946" y="282"/>
                  <a:pt x="974" y="253"/>
                </a:cubicBezTo>
                <a:cubicBezTo>
                  <a:pt x="982" y="244"/>
                  <a:pt x="991" y="236"/>
                  <a:pt x="1000" y="228"/>
                </a:cubicBezTo>
                <a:cubicBezTo>
                  <a:pt x="1006" y="229"/>
                  <a:pt x="1012" y="230"/>
                  <a:pt x="1017" y="230"/>
                </a:cubicBezTo>
                <a:cubicBezTo>
                  <a:pt x="1019" y="230"/>
                  <a:pt x="1021" y="230"/>
                  <a:pt x="1023" y="230"/>
                </a:cubicBezTo>
                <a:cubicBezTo>
                  <a:pt x="1025" y="231"/>
                  <a:pt x="1026" y="232"/>
                  <a:pt x="1028" y="233"/>
                </a:cubicBezTo>
                <a:cubicBezTo>
                  <a:pt x="1033" y="242"/>
                  <a:pt x="1037" y="253"/>
                  <a:pt x="1041" y="265"/>
                </a:cubicBezTo>
                <a:cubicBezTo>
                  <a:pt x="1044" y="277"/>
                  <a:pt x="1047" y="290"/>
                  <a:pt x="1048" y="303"/>
                </a:cubicBezTo>
                <a:cubicBezTo>
                  <a:pt x="1049" y="316"/>
                  <a:pt x="1049" y="329"/>
                  <a:pt x="1047" y="341"/>
                </a:cubicBezTo>
                <a:lnTo>
                  <a:pt x="1047" y="343"/>
                </a:lnTo>
                <a:cubicBezTo>
                  <a:pt x="1046" y="347"/>
                  <a:pt x="1048" y="352"/>
                  <a:pt x="1052" y="355"/>
                </a:cubicBezTo>
                <a:cubicBezTo>
                  <a:pt x="1057" y="359"/>
                  <a:pt x="1065" y="358"/>
                  <a:pt x="1069" y="352"/>
                </a:cubicBezTo>
                <a:cubicBezTo>
                  <a:pt x="1079" y="339"/>
                  <a:pt x="1085" y="324"/>
                  <a:pt x="1090" y="309"/>
                </a:cubicBezTo>
                <a:cubicBezTo>
                  <a:pt x="1095" y="294"/>
                  <a:pt x="1099" y="278"/>
                  <a:pt x="1101" y="262"/>
                </a:cubicBezTo>
                <a:cubicBezTo>
                  <a:pt x="1103" y="250"/>
                  <a:pt x="1104" y="238"/>
                  <a:pt x="1104" y="226"/>
                </a:cubicBezTo>
                <a:cubicBezTo>
                  <a:pt x="1117" y="226"/>
                  <a:pt x="1130" y="228"/>
                  <a:pt x="1143" y="231"/>
                </a:cubicBezTo>
                <a:cubicBezTo>
                  <a:pt x="1159" y="235"/>
                  <a:pt x="1174" y="241"/>
                  <a:pt x="1188" y="250"/>
                </a:cubicBezTo>
                <a:cubicBezTo>
                  <a:pt x="1202" y="258"/>
                  <a:pt x="1217" y="269"/>
                  <a:pt x="1227" y="280"/>
                </a:cubicBezTo>
                <a:lnTo>
                  <a:pt x="1228" y="281"/>
                </a:lnTo>
                <a:cubicBezTo>
                  <a:pt x="1232" y="285"/>
                  <a:pt x="1238" y="286"/>
                  <a:pt x="1243" y="284"/>
                </a:cubicBezTo>
                <a:cubicBezTo>
                  <a:pt x="1249" y="281"/>
                  <a:pt x="1252" y="274"/>
                  <a:pt x="1249" y="268"/>
                </a:cubicBez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Face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33E5090E-A25C-463C-8BA0-204889FF0F00}"/>
              </a:ext>
            </a:extLst>
          </p:cNvPr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5730240" y="5809298"/>
            <a:ext cx="251290" cy="542925"/>
          </a:xfrm>
          <a:custGeom>
            <a:avLst/>
            <a:gdLst>
              <a:gd name="T0" fmla="*/ 569 w 581"/>
              <a:gd name="T1" fmla="*/ 567 h 1250"/>
              <a:gd name="T2" fmla="*/ 500 w 581"/>
              <a:gd name="T3" fmla="*/ 487 h 1250"/>
              <a:gd name="T4" fmla="*/ 330 w 581"/>
              <a:gd name="T5" fmla="*/ 267 h 1250"/>
              <a:gd name="T6" fmla="*/ 356 w 581"/>
              <a:gd name="T7" fmla="*/ 193 h 1250"/>
              <a:gd name="T8" fmla="*/ 358 w 581"/>
              <a:gd name="T9" fmla="*/ 191 h 1250"/>
              <a:gd name="T10" fmla="*/ 356 w 581"/>
              <a:gd name="T11" fmla="*/ 188 h 1250"/>
              <a:gd name="T12" fmla="*/ 255 w 581"/>
              <a:gd name="T13" fmla="*/ 24 h 1250"/>
              <a:gd name="T14" fmla="*/ 181 w 581"/>
              <a:gd name="T15" fmla="*/ 0 h 1250"/>
              <a:gd name="T16" fmla="*/ 96 w 581"/>
              <a:gd name="T17" fmla="*/ 28 h 1250"/>
              <a:gd name="T18" fmla="*/ 82 w 581"/>
              <a:gd name="T19" fmla="*/ 63 h 1250"/>
              <a:gd name="T20" fmla="*/ 85 w 581"/>
              <a:gd name="T21" fmla="*/ 140 h 1250"/>
              <a:gd name="T22" fmla="*/ 108 w 581"/>
              <a:gd name="T23" fmla="*/ 805 h 1250"/>
              <a:gd name="T24" fmla="*/ 69 w 581"/>
              <a:gd name="T25" fmla="*/ 923 h 1250"/>
              <a:gd name="T26" fmla="*/ 4 w 581"/>
              <a:gd name="T27" fmla="*/ 1141 h 1250"/>
              <a:gd name="T28" fmla="*/ 81 w 581"/>
              <a:gd name="T29" fmla="*/ 1250 h 1250"/>
              <a:gd name="T30" fmla="*/ 82 w 581"/>
              <a:gd name="T31" fmla="*/ 1250 h 1250"/>
              <a:gd name="T32" fmla="*/ 386 w 581"/>
              <a:gd name="T33" fmla="*/ 1201 h 1250"/>
              <a:gd name="T34" fmla="*/ 390 w 581"/>
              <a:gd name="T35" fmla="*/ 1200 h 1250"/>
              <a:gd name="T36" fmla="*/ 388 w 581"/>
              <a:gd name="T37" fmla="*/ 1196 h 1250"/>
              <a:gd name="T38" fmla="*/ 408 w 581"/>
              <a:gd name="T39" fmla="*/ 1030 h 1250"/>
              <a:gd name="T40" fmla="*/ 448 w 581"/>
              <a:gd name="T41" fmla="*/ 1011 h 1250"/>
              <a:gd name="T42" fmla="*/ 488 w 581"/>
              <a:gd name="T43" fmla="*/ 989 h 1250"/>
              <a:gd name="T44" fmla="*/ 486 w 581"/>
              <a:gd name="T45" fmla="*/ 908 h 1250"/>
              <a:gd name="T46" fmla="*/ 478 w 581"/>
              <a:gd name="T47" fmla="*/ 839 h 1250"/>
              <a:gd name="T48" fmla="*/ 497 w 581"/>
              <a:gd name="T49" fmla="*/ 753 h 1250"/>
              <a:gd name="T50" fmla="*/ 498 w 581"/>
              <a:gd name="T51" fmla="*/ 749 h 1250"/>
              <a:gd name="T52" fmla="*/ 484 w 581"/>
              <a:gd name="T53" fmla="*/ 742 h 1250"/>
              <a:gd name="T54" fmla="*/ 504 w 581"/>
              <a:gd name="T55" fmla="*/ 722 h 1250"/>
              <a:gd name="T56" fmla="*/ 501 w 581"/>
              <a:gd name="T57" fmla="*/ 719 h 1250"/>
              <a:gd name="T58" fmla="*/ 483 w 581"/>
              <a:gd name="T59" fmla="*/ 665 h 1250"/>
              <a:gd name="T60" fmla="*/ 569 w 581"/>
              <a:gd name="T61" fmla="*/ 567 h 1250"/>
              <a:gd name="T62" fmla="*/ 251 w 581"/>
              <a:gd name="T63" fmla="*/ 313 h 1250"/>
              <a:gd name="T64" fmla="*/ 246 w 581"/>
              <a:gd name="T65" fmla="*/ 313 h 1250"/>
              <a:gd name="T66" fmla="*/ 220 w 581"/>
              <a:gd name="T67" fmla="*/ 309 h 1250"/>
              <a:gd name="T68" fmla="*/ 249 w 581"/>
              <a:gd name="T69" fmla="*/ 287 h 1250"/>
              <a:gd name="T70" fmla="*/ 252 w 581"/>
              <a:gd name="T71" fmla="*/ 287 h 1250"/>
              <a:gd name="T72" fmla="*/ 248 w 581"/>
              <a:gd name="T73" fmla="*/ 301 h 1250"/>
              <a:gd name="T74" fmla="*/ 251 w 581"/>
              <a:gd name="T75" fmla="*/ 313 h 1250"/>
              <a:gd name="T76" fmla="*/ 269 w 581"/>
              <a:gd name="T77" fmla="*/ 305 h 1250"/>
              <a:gd name="T78" fmla="*/ 270 w 581"/>
              <a:gd name="T79" fmla="*/ 301 h 1250"/>
              <a:gd name="T80" fmla="*/ 269 w 581"/>
              <a:gd name="T81" fmla="*/ 298 h 1250"/>
              <a:gd name="T82" fmla="*/ 273 w 581"/>
              <a:gd name="T83" fmla="*/ 302 h 1250"/>
              <a:gd name="T84" fmla="*/ 269 w 581"/>
              <a:gd name="T85" fmla="*/ 305 h 12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581" h="1250">
                <a:moveTo>
                  <a:pt x="569" y="567"/>
                </a:moveTo>
                <a:cubicBezTo>
                  <a:pt x="566" y="559"/>
                  <a:pt x="544" y="534"/>
                  <a:pt x="500" y="487"/>
                </a:cubicBezTo>
                <a:cubicBezTo>
                  <a:pt x="432" y="412"/>
                  <a:pt x="330" y="300"/>
                  <a:pt x="330" y="267"/>
                </a:cubicBezTo>
                <a:cubicBezTo>
                  <a:pt x="330" y="225"/>
                  <a:pt x="356" y="193"/>
                  <a:pt x="356" y="193"/>
                </a:cubicBezTo>
                <a:lnTo>
                  <a:pt x="358" y="191"/>
                </a:lnTo>
                <a:lnTo>
                  <a:pt x="356" y="188"/>
                </a:lnTo>
                <a:cubicBezTo>
                  <a:pt x="356" y="188"/>
                  <a:pt x="276" y="58"/>
                  <a:pt x="255" y="24"/>
                </a:cubicBezTo>
                <a:cubicBezTo>
                  <a:pt x="245" y="7"/>
                  <a:pt x="211" y="0"/>
                  <a:pt x="181" y="0"/>
                </a:cubicBezTo>
                <a:cubicBezTo>
                  <a:pt x="144" y="0"/>
                  <a:pt x="112" y="10"/>
                  <a:pt x="96" y="28"/>
                </a:cubicBezTo>
                <a:cubicBezTo>
                  <a:pt x="86" y="38"/>
                  <a:pt x="82" y="50"/>
                  <a:pt x="82" y="63"/>
                </a:cubicBezTo>
                <a:cubicBezTo>
                  <a:pt x="83" y="76"/>
                  <a:pt x="84" y="103"/>
                  <a:pt x="85" y="140"/>
                </a:cubicBezTo>
                <a:cubicBezTo>
                  <a:pt x="93" y="322"/>
                  <a:pt x="111" y="748"/>
                  <a:pt x="108" y="805"/>
                </a:cubicBezTo>
                <a:cubicBezTo>
                  <a:pt x="107" y="834"/>
                  <a:pt x="89" y="875"/>
                  <a:pt x="69" y="923"/>
                </a:cubicBezTo>
                <a:cubicBezTo>
                  <a:pt x="40" y="991"/>
                  <a:pt x="7" y="1067"/>
                  <a:pt x="4" y="1141"/>
                </a:cubicBezTo>
                <a:cubicBezTo>
                  <a:pt x="0" y="1219"/>
                  <a:pt x="80" y="1249"/>
                  <a:pt x="81" y="1250"/>
                </a:cubicBezTo>
                <a:lnTo>
                  <a:pt x="82" y="1250"/>
                </a:lnTo>
                <a:cubicBezTo>
                  <a:pt x="270" y="1250"/>
                  <a:pt x="385" y="1202"/>
                  <a:pt x="386" y="1201"/>
                </a:cubicBezTo>
                <a:lnTo>
                  <a:pt x="390" y="1200"/>
                </a:lnTo>
                <a:lnTo>
                  <a:pt x="388" y="1196"/>
                </a:lnTo>
                <a:cubicBezTo>
                  <a:pt x="343" y="1096"/>
                  <a:pt x="388" y="1050"/>
                  <a:pt x="408" y="1030"/>
                </a:cubicBezTo>
                <a:cubicBezTo>
                  <a:pt x="417" y="1021"/>
                  <a:pt x="433" y="1016"/>
                  <a:pt x="448" y="1011"/>
                </a:cubicBezTo>
                <a:cubicBezTo>
                  <a:pt x="465" y="1005"/>
                  <a:pt x="481" y="1000"/>
                  <a:pt x="488" y="989"/>
                </a:cubicBezTo>
                <a:cubicBezTo>
                  <a:pt x="497" y="973"/>
                  <a:pt x="492" y="943"/>
                  <a:pt x="486" y="908"/>
                </a:cubicBezTo>
                <a:cubicBezTo>
                  <a:pt x="482" y="885"/>
                  <a:pt x="478" y="861"/>
                  <a:pt x="478" y="839"/>
                </a:cubicBezTo>
                <a:cubicBezTo>
                  <a:pt x="478" y="786"/>
                  <a:pt x="496" y="753"/>
                  <a:pt x="497" y="753"/>
                </a:cubicBezTo>
                <a:lnTo>
                  <a:pt x="498" y="749"/>
                </a:lnTo>
                <a:lnTo>
                  <a:pt x="484" y="742"/>
                </a:lnTo>
                <a:lnTo>
                  <a:pt x="504" y="722"/>
                </a:lnTo>
                <a:lnTo>
                  <a:pt x="501" y="719"/>
                </a:lnTo>
                <a:cubicBezTo>
                  <a:pt x="486" y="704"/>
                  <a:pt x="484" y="674"/>
                  <a:pt x="483" y="665"/>
                </a:cubicBezTo>
                <a:cubicBezTo>
                  <a:pt x="522" y="643"/>
                  <a:pt x="581" y="602"/>
                  <a:pt x="569" y="567"/>
                </a:cubicBezTo>
                <a:close/>
                <a:moveTo>
                  <a:pt x="251" y="313"/>
                </a:moveTo>
                <a:cubicBezTo>
                  <a:pt x="249" y="313"/>
                  <a:pt x="248" y="313"/>
                  <a:pt x="246" y="313"/>
                </a:cubicBezTo>
                <a:cubicBezTo>
                  <a:pt x="236" y="313"/>
                  <a:pt x="225" y="310"/>
                  <a:pt x="220" y="309"/>
                </a:cubicBezTo>
                <a:cubicBezTo>
                  <a:pt x="229" y="295"/>
                  <a:pt x="239" y="287"/>
                  <a:pt x="249" y="287"/>
                </a:cubicBezTo>
                <a:cubicBezTo>
                  <a:pt x="250" y="287"/>
                  <a:pt x="251" y="287"/>
                  <a:pt x="252" y="287"/>
                </a:cubicBezTo>
                <a:cubicBezTo>
                  <a:pt x="249" y="290"/>
                  <a:pt x="248" y="295"/>
                  <a:pt x="248" y="301"/>
                </a:cubicBezTo>
                <a:cubicBezTo>
                  <a:pt x="248" y="306"/>
                  <a:pt x="249" y="310"/>
                  <a:pt x="251" y="313"/>
                </a:cubicBezTo>
                <a:close/>
                <a:moveTo>
                  <a:pt x="269" y="305"/>
                </a:moveTo>
                <a:cubicBezTo>
                  <a:pt x="269" y="304"/>
                  <a:pt x="270" y="303"/>
                  <a:pt x="270" y="301"/>
                </a:cubicBezTo>
                <a:cubicBezTo>
                  <a:pt x="270" y="300"/>
                  <a:pt x="269" y="299"/>
                  <a:pt x="269" y="298"/>
                </a:cubicBezTo>
                <a:cubicBezTo>
                  <a:pt x="271" y="299"/>
                  <a:pt x="272" y="300"/>
                  <a:pt x="273" y="302"/>
                </a:cubicBezTo>
                <a:cubicBezTo>
                  <a:pt x="272" y="303"/>
                  <a:pt x="271" y="304"/>
                  <a:pt x="269" y="305"/>
                </a:cubicBez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86106674"/>
      </p:ext>
    </p:extLst>
  </p:cSld>
  <p:clrMapOvr>
    <a:masterClrMapping/>
  </p:clrMapOvr>
  <p:transition spd="slow">
    <p:push dir="u"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Island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A2626A70-F3BB-48D3-9F61-72E39D8ADCFE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>
            <a:off x="7197256" y="1669772"/>
            <a:ext cx="3992880" cy="2328904"/>
          </a:xfrm>
          <a:custGeom>
            <a:avLst/>
            <a:gdLst>
              <a:gd name="T0" fmla="*/ 1216 w 1252"/>
              <a:gd name="T1" fmla="*/ 217 h 717"/>
              <a:gd name="T2" fmla="*/ 1138 w 1252"/>
              <a:gd name="T3" fmla="*/ 159 h 717"/>
              <a:gd name="T4" fmla="*/ 1157 w 1252"/>
              <a:gd name="T5" fmla="*/ 143 h 717"/>
              <a:gd name="T6" fmla="*/ 1180 w 1252"/>
              <a:gd name="T7" fmla="*/ 131 h 717"/>
              <a:gd name="T8" fmla="*/ 1177 w 1252"/>
              <a:gd name="T9" fmla="*/ 107 h 717"/>
              <a:gd name="T10" fmla="*/ 1120 w 1252"/>
              <a:gd name="T11" fmla="*/ 100 h 717"/>
              <a:gd name="T12" fmla="*/ 1075 w 1252"/>
              <a:gd name="T13" fmla="*/ 107 h 717"/>
              <a:gd name="T14" fmla="*/ 982 w 1252"/>
              <a:gd name="T15" fmla="*/ 16 h 717"/>
              <a:gd name="T16" fmla="*/ 907 w 1252"/>
              <a:gd name="T17" fmla="*/ 8 h 717"/>
              <a:gd name="T18" fmla="*/ 914 w 1252"/>
              <a:gd name="T19" fmla="*/ 25 h 717"/>
              <a:gd name="T20" fmla="*/ 991 w 1252"/>
              <a:gd name="T21" fmla="*/ 91 h 717"/>
              <a:gd name="T22" fmla="*/ 908 w 1252"/>
              <a:gd name="T23" fmla="*/ 78 h 717"/>
              <a:gd name="T24" fmla="*/ 737 w 1252"/>
              <a:gd name="T25" fmla="*/ 125 h 717"/>
              <a:gd name="T26" fmla="*/ 748 w 1252"/>
              <a:gd name="T27" fmla="*/ 147 h 717"/>
              <a:gd name="T28" fmla="*/ 825 w 1252"/>
              <a:gd name="T29" fmla="*/ 131 h 717"/>
              <a:gd name="T30" fmla="*/ 933 w 1252"/>
              <a:gd name="T31" fmla="*/ 149 h 717"/>
              <a:gd name="T32" fmla="*/ 882 w 1252"/>
              <a:gd name="T33" fmla="*/ 179 h 717"/>
              <a:gd name="T34" fmla="*/ 851 w 1252"/>
              <a:gd name="T35" fmla="*/ 224 h 717"/>
              <a:gd name="T36" fmla="*/ 869 w 1252"/>
              <a:gd name="T37" fmla="*/ 228 h 717"/>
              <a:gd name="T38" fmla="*/ 936 w 1252"/>
              <a:gd name="T39" fmla="*/ 214 h 717"/>
              <a:gd name="T40" fmla="*/ 945 w 1252"/>
              <a:gd name="T41" fmla="*/ 221 h 717"/>
              <a:gd name="T42" fmla="*/ 796 w 1252"/>
              <a:gd name="T43" fmla="*/ 448 h 717"/>
              <a:gd name="T44" fmla="*/ 609 w 1252"/>
              <a:gd name="T45" fmla="*/ 465 h 717"/>
              <a:gd name="T46" fmla="*/ 642 w 1252"/>
              <a:gd name="T47" fmla="*/ 366 h 717"/>
              <a:gd name="T48" fmla="*/ 469 w 1252"/>
              <a:gd name="T49" fmla="*/ 157 h 717"/>
              <a:gd name="T50" fmla="*/ 236 w 1252"/>
              <a:gd name="T51" fmla="*/ 341 h 717"/>
              <a:gd name="T52" fmla="*/ 279 w 1252"/>
              <a:gd name="T53" fmla="*/ 366 h 717"/>
              <a:gd name="T54" fmla="*/ 0 w 1252"/>
              <a:gd name="T55" fmla="*/ 685 h 717"/>
              <a:gd name="T56" fmla="*/ 160 w 1252"/>
              <a:gd name="T57" fmla="*/ 697 h 717"/>
              <a:gd name="T58" fmla="*/ 347 w 1252"/>
              <a:gd name="T59" fmla="*/ 697 h 717"/>
              <a:gd name="T60" fmla="*/ 540 w 1252"/>
              <a:gd name="T61" fmla="*/ 697 h 717"/>
              <a:gd name="T62" fmla="*/ 727 w 1252"/>
              <a:gd name="T63" fmla="*/ 697 h 717"/>
              <a:gd name="T64" fmla="*/ 919 w 1252"/>
              <a:gd name="T65" fmla="*/ 697 h 717"/>
              <a:gd name="T66" fmla="*/ 1106 w 1252"/>
              <a:gd name="T67" fmla="*/ 697 h 717"/>
              <a:gd name="T68" fmla="*/ 1241 w 1252"/>
              <a:gd name="T69" fmla="*/ 679 h 717"/>
              <a:gd name="T70" fmla="*/ 873 w 1252"/>
              <a:gd name="T71" fmla="*/ 466 h 717"/>
              <a:gd name="T72" fmla="*/ 974 w 1252"/>
              <a:gd name="T73" fmla="*/ 253 h 717"/>
              <a:gd name="T74" fmla="*/ 1017 w 1252"/>
              <a:gd name="T75" fmla="*/ 230 h 717"/>
              <a:gd name="T76" fmla="*/ 1028 w 1252"/>
              <a:gd name="T77" fmla="*/ 233 h 717"/>
              <a:gd name="T78" fmla="*/ 1048 w 1252"/>
              <a:gd name="T79" fmla="*/ 303 h 717"/>
              <a:gd name="T80" fmla="*/ 1047 w 1252"/>
              <a:gd name="T81" fmla="*/ 343 h 717"/>
              <a:gd name="T82" fmla="*/ 1069 w 1252"/>
              <a:gd name="T83" fmla="*/ 352 h 717"/>
              <a:gd name="T84" fmla="*/ 1101 w 1252"/>
              <a:gd name="T85" fmla="*/ 262 h 717"/>
              <a:gd name="T86" fmla="*/ 1143 w 1252"/>
              <a:gd name="T87" fmla="*/ 231 h 717"/>
              <a:gd name="T88" fmla="*/ 1227 w 1252"/>
              <a:gd name="T89" fmla="*/ 280 h 717"/>
              <a:gd name="T90" fmla="*/ 1243 w 1252"/>
              <a:gd name="T91" fmla="*/ 284 h 7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252" h="717">
                <a:moveTo>
                  <a:pt x="1249" y="268"/>
                </a:moveTo>
                <a:cubicBezTo>
                  <a:pt x="1240" y="248"/>
                  <a:pt x="1229" y="232"/>
                  <a:pt x="1216" y="217"/>
                </a:cubicBezTo>
                <a:cubicBezTo>
                  <a:pt x="1202" y="202"/>
                  <a:pt x="1187" y="188"/>
                  <a:pt x="1169" y="176"/>
                </a:cubicBezTo>
                <a:cubicBezTo>
                  <a:pt x="1159" y="170"/>
                  <a:pt x="1149" y="164"/>
                  <a:pt x="1138" y="159"/>
                </a:cubicBezTo>
                <a:cubicBezTo>
                  <a:pt x="1138" y="158"/>
                  <a:pt x="1139" y="158"/>
                  <a:pt x="1139" y="157"/>
                </a:cubicBezTo>
                <a:cubicBezTo>
                  <a:pt x="1145" y="153"/>
                  <a:pt x="1151" y="148"/>
                  <a:pt x="1157" y="143"/>
                </a:cubicBezTo>
                <a:cubicBezTo>
                  <a:pt x="1164" y="139"/>
                  <a:pt x="1171" y="135"/>
                  <a:pt x="1178" y="131"/>
                </a:cubicBezTo>
                <a:lnTo>
                  <a:pt x="1180" y="131"/>
                </a:lnTo>
                <a:cubicBezTo>
                  <a:pt x="1183" y="129"/>
                  <a:pt x="1185" y="126"/>
                  <a:pt x="1186" y="122"/>
                </a:cubicBezTo>
                <a:cubicBezTo>
                  <a:pt x="1188" y="115"/>
                  <a:pt x="1184" y="108"/>
                  <a:pt x="1177" y="107"/>
                </a:cubicBezTo>
                <a:cubicBezTo>
                  <a:pt x="1167" y="104"/>
                  <a:pt x="1158" y="103"/>
                  <a:pt x="1149" y="101"/>
                </a:cubicBezTo>
                <a:cubicBezTo>
                  <a:pt x="1140" y="100"/>
                  <a:pt x="1130" y="100"/>
                  <a:pt x="1120" y="100"/>
                </a:cubicBezTo>
                <a:cubicBezTo>
                  <a:pt x="1110" y="100"/>
                  <a:pt x="1100" y="101"/>
                  <a:pt x="1089" y="103"/>
                </a:cubicBezTo>
                <a:cubicBezTo>
                  <a:pt x="1085" y="104"/>
                  <a:pt x="1080" y="105"/>
                  <a:pt x="1075" y="107"/>
                </a:cubicBezTo>
                <a:cubicBezTo>
                  <a:pt x="1066" y="88"/>
                  <a:pt x="1054" y="69"/>
                  <a:pt x="1039" y="54"/>
                </a:cubicBezTo>
                <a:cubicBezTo>
                  <a:pt x="1023" y="37"/>
                  <a:pt x="1002" y="24"/>
                  <a:pt x="982" y="16"/>
                </a:cubicBezTo>
                <a:cubicBezTo>
                  <a:pt x="961" y="7"/>
                  <a:pt x="941" y="3"/>
                  <a:pt x="921" y="1"/>
                </a:cubicBezTo>
                <a:cubicBezTo>
                  <a:pt x="915" y="0"/>
                  <a:pt x="910" y="3"/>
                  <a:pt x="907" y="8"/>
                </a:cubicBezTo>
                <a:cubicBezTo>
                  <a:pt x="905" y="14"/>
                  <a:pt x="907" y="22"/>
                  <a:pt x="914" y="25"/>
                </a:cubicBezTo>
                <a:lnTo>
                  <a:pt x="914" y="25"/>
                </a:lnTo>
                <a:cubicBezTo>
                  <a:pt x="931" y="33"/>
                  <a:pt x="947" y="42"/>
                  <a:pt x="961" y="53"/>
                </a:cubicBezTo>
                <a:cubicBezTo>
                  <a:pt x="974" y="64"/>
                  <a:pt x="984" y="77"/>
                  <a:pt x="991" y="91"/>
                </a:cubicBezTo>
                <a:cubicBezTo>
                  <a:pt x="991" y="91"/>
                  <a:pt x="991" y="92"/>
                  <a:pt x="992" y="92"/>
                </a:cubicBezTo>
                <a:cubicBezTo>
                  <a:pt x="964" y="83"/>
                  <a:pt x="936" y="79"/>
                  <a:pt x="908" y="78"/>
                </a:cubicBezTo>
                <a:cubicBezTo>
                  <a:pt x="877" y="77"/>
                  <a:pt x="847" y="81"/>
                  <a:pt x="818" y="89"/>
                </a:cubicBezTo>
                <a:cubicBezTo>
                  <a:pt x="789" y="97"/>
                  <a:pt x="761" y="108"/>
                  <a:pt x="737" y="125"/>
                </a:cubicBezTo>
                <a:cubicBezTo>
                  <a:pt x="732" y="128"/>
                  <a:pt x="730" y="134"/>
                  <a:pt x="732" y="140"/>
                </a:cubicBezTo>
                <a:cubicBezTo>
                  <a:pt x="734" y="146"/>
                  <a:pt x="742" y="149"/>
                  <a:pt x="748" y="147"/>
                </a:cubicBezTo>
                <a:lnTo>
                  <a:pt x="748" y="147"/>
                </a:lnTo>
                <a:cubicBezTo>
                  <a:pt x="773" y="137"/>
                  <a:pt x="799" y="133"/>
                  <a:pt x="825" y="131"/>
                </a:cubicBezTo>
                <a:cubicBezTo>
                  <a:pt x="851" y="130"/>
                  <a:pt x="877" y="133"/>
                  <a:pt x="901" y="138"/>
                </a:cubicBezTo>
                <a:cubicBezTo>
                  <a:pt x="912" y="141"/>
                  <a:pt x="923" y="145"/>
                  <a:pt x="933" y="149"/>
                </a:cubicBezTo>
                <a:cubicBezTo>
                  <a:pt x="929" y="151"/>
                  <a:pt x="924" y="153"/>
                  <a:pt x="919" y="156"/>
                </a:cubicBezTo>
                <a:cubicBezTo>
                  <a:pt x="906" y="162"/>
                  <a:pt x="894" y="170"/>
                  <a:pt x="882" y="179"/>
                </a:cubicBezTo>
                <a:cubicBezTo>
                  <a:pt x="871" y="188"/>
                  <a:pt x="860" y="198"/>
                  <a:pt x="851" y="211"/>
                </a:cubicBezTo>
                <a:cubicBezTo>
                  <a:pt x="849" y="215"/>
                  <a:pt x="848" y="220"/>
                  <a:pt x="851" y="224"/>
                </a:cubicBezTo>
                <a:cubicBezTo>
                  <a:pt x="854" y="230"/>
                  <a:pt x="862" y="233"/>
                  <a:pt x="868" y="229"/>
                </a:cubicBezTo>
                <a:lnTo>
                  <a:pt x="869" y="228"/>
                </a:lnTo>
                <a:cubicBezTo>
                  <a:pt x="878" y="223"/>
                  <a:pt x="890" y="220"/>
                  <a:pt x="901" y="218"/>
                </a:cubicBezTo>
                <a:cubicBezTo>
                  <a:pt x="912" y="215"/>
                  <a:pt x="924" y="214"/>
                  <a:pt x="936" y="214"/>
                </a:cubicBezTo>
                <a:cubicBezTo>
                  <a:pt x="942" y="214"/>
                  <a:pt x="948" y="214"/>
                  <a:pt x="954" y="214"/>
                </a:cubicBezTo>
                <a:cubicBezTo>
                  <a:pt x="951" y="217"/>
                  <a:pt x="948" y="219"/>
                  <a:pt x="945" y="221"/>
                </a:cubicBezTo>
                <a:cubicBezTo>
                  <a:pt x="909" y="250"/>
                  <a:pt x="879" y="284"/>
                  <a:pt x="854" y="323"/>
                </a:cubicBezTo>
                <a:cubicBezTo>
                  <a:pt x="828" y="361"/>
                  <a:pt x="809" y="404"/>
                  <a:pt x="796" y="448"/>
                </a:cubicBezTo>
                <a:cubicBezTo>
                  <a:pt x="793" y="459"/>
                  <a:pt x="790" y="469"/>
                  <a:pt x="788" y="480"/>
                </a:cubicBezTo>
                <a:cubicBezTo>
                  <a:pt x="729" y="470"/>
                  <a:pt x="669" y="465"/>
                  <a:pt x="609" y="465"/>
                </a:cubicBezTo>
                <a:lnTo>
                  <a:pt x="609" y="366"/>
                </a:lnTo>
                <a:lnTo>
                  <a:pt x="642" y="366"/>
                </a:lnTo>
                <a:cubicBezTo>
                  <a:pt x="661" y="366"/>
                  <a:pt x="666" y="354"/>
                  <a:pt x="652" y="341"/>
                </a:cubicBezTo>
                <a:lnTo>
                  <a:pt x="469" y="157"/>
                </a:lnTo>
                <a:cubicBezTo>
                  <a:pt x="455" y="143"/>
                  <a:pt x="433" y="143"/>
                  <a:pt x="419" y="157"/>
                </a:cubicBezTo>
                <a:lnTo>
                  <a:pt x="236" y="341"/>
                </a:lnTo>
                <a:cubicBezTo>
                  <a:pt x="222" y="354"/>
                  <a:pt x="227" y="366"/>
                  <a:pt x="246" y="366"/>
                </a:cubicBezTo>
                <a:lnTo>
                  <a:pt x="279" y="366"/>
                </a:lnTo>
                <a:lnTo>
                  <a:pt x="279" y="517"/>
                </a:lnTo>
                <a:cubicBezTo>
                  <a:pt x="171" y="554"/>
                  <a:pt x="75" y="610"/>
                  <a:pt x="0" y="685"/>
                </a:cubicBezTo>
                <a:cubicBezTo>
                  <a:pt x="20" y="679"/>
                  <a:pt x="42" y="675"/>
                  <a:pt x="64" y="675"/>
                </a:cubicBezTo>
                <a:cubicBezTo>
                  <a:pt x="98" y="675"/>
                  <a:pt x="131" y="683"/>
                  <a:pt x="160" y="697"/>
                </a:cubicBezTo>
                <a:cubicBezTo>
                  <a:pt x="188" y="710"/>
                  <a:pt x="220" y="717"/>
                  <a:pt x="253" y="717"/>
                </a:cubicBezTo>
                <a:cubicBezTo>
                  <a:pt x="287" y="717"/>
                  <a:pt x="319" y="710"/>
                  <a:pt x="347" y="697"/>
                </a:cubicBezTo>
                <a:cubicBezTo>
                  <a:pt x="376" y="683"/>
                  <a:pt x="409" y="675"/>
                  <a:pt x="443" y="675"/>
                </a:cubicBezTo>
                <a:cubicBezTo>
                  <a:pt x="477" y="675"/>
                  <a:pt x="510" y="683"/>
                  <a:pt x="540" y="697"/>
                </a:cubicBezTo>
                <a:cubicBezTo>
                  <a:pt x="568" y="710"/>
                  <a:pt x="600" y="717"/>
                  <a:pt x="633" y="717"/>
                </a:cubicBezTo>
                <a:cubicBezTo>
                  <a:pt x="666" y="717"/>
                  <a:pt x="698" y="710"/>
                  <a:pt x="727" y="697"/>
                </a:cubicBezTo>
                <a:cubicBezTo>
                  <a:pt x="756" y="683"/>
                  <a:pt x="789" y="675"/>
                  <a:pt x="823" y="675"/>
                </a:cubicBezTo>
                <a:cubicBezTo>
                  <a:pt x="857" y="675"/>
                  <a:pt x="890" y="683"/>
                  <a:pt x="919" y="697"/>
                </a:cubicBezTo>
                <a:cubicBezTo>
                  <a:pt x="947" y="710"/>
                  <a:pt x="979" y="717"/>
                  <a:pt x="1012" y="717"/>
                </a:cubicBezTo>
                <a:cubicBezTo>
                  <a:pt x="1046" y="717"/>
                  <a:pt x="1077" y="710"/>
                  <a:pt x="1106" y="697"/>
                </a:cubicBezTo>
                <a:cubicBezTo>
                  <a:pt x="1135" y="683"/>
                  <a:pt x="1168" y="675"/>
                  <a:pt x="1202" y="675"/>
                </a:cubicBezTo>
                <a:cubicBezTo>
                  <a:pt x="1215" y="675"/>
                  <a:pt x="1228" y="677"/>
                  <a:pt x="1241" y="679"/>
                </a:cubicBezTo>
                <a:cubicBezTo>
                  <a:pt x="1136" y="591"/>
                  <a:pt x="1007" y="530"/>
                  <a:pt x="869" y="497"/>
                </a:cubicBezTo>
                <a:cubicBezTo>
                  <a:pt x="870" y="486"/>
                  <a:pt x="871" y="476"/>
                  <a:pt x="873" y="466"/>
                </a:cubicBezTo>
                <a:cubicBezTo>
                  <a:pt x="878" y="427"/>
                  <a:pt x="889" y="388"/>
                  <a:pt x="906" y="352"/>
                </a:cubicBezTo>
                <a:cubicBezTo>
                  <a:pt x="923" y="316"/>
                  <a:pt x="946" y="282"/>
                  <a:pt x="974" y="253"/>
                </a:cubicBezTo>
                <a:cubicBezTo>
                  <a:pt x="982" y="244"/>
                  <a:pt x="991" y="236"/>
                  <a:pt x="1000" y="228"/>
                </a:cubicBezTo>
                <a:cubicBezTo>
                  <a:pt x="1006" y="229"/>
                  <a:pt x="1012" y="230"/>
                  <a:pt x="1017" y="230"/>
                </a:cubicBezTo>
                <a:cubicBezTo>
                  <a:pt x="1019" y="230"/>
                  <a:pt x="1021" y="230"/>
                  <a:pt x="1023" y="230"/>
                </a:cubicBezTo>
                <a:cubicBezTo>
                  <a:pt x="1025" y="231"/>
                  <a:pt x="1026" y="232"/>
                  <a:pt x="1028" y="233"/>
                </a:cubicBezTo>
                <a:cubicBezTo>
                  <a:pt x="1033" y="242"/>
                  <a:pt x="1037" y="253"/>
                  <a:pt x="1041" y="265"/>
                </a:cubicBezTo>
                <a:cubicBezTo>
                  <a:pt x="1044" y="277"/>
                  <a:pt x="1047" y="290"/>
                  <a:pt x="1048" y="303"/>
                </a:cubicBezTo>
                <a:cubicBezTo>
                  <a:pt x="1049" y="316"/>
                  <a:pt x="1049" y="329"/>
                  <a:pt x="1047" y="341"/>
                </a:cubicBezTo>
                <a:lnTo>
                  <a:pt x="1047" y="343"/>
                </a:lnTo>
                <a:cubicBezTo>
                  <a:pt x="1046" y="347"/>
                  <a:pt x="1048" y="352"/>
                  <a:pt x="1052" y="355"/>
                </a:cubicBezTo>
                <a:cubicBezTo>
                  <a:pt x="1057" y="359"/>
                  <a:pt x="1065" y="358"/>
                  <a:pt x="1069" y="352"/>
                </a:cubicBezTo>
                <a:cubicBezTo>
                  <a:pt x="1079" y="339"/>
                  <a:pt x="1085" y="324"/>
                  <a:pt x="1090" y="309"/>
                </a:cubicBezTo>
                <a:cubicBezTo>
                  <a:pt x="1095" y="294"/>
                  <a:pt x="1099" y="278"/>
                  <a:pt x="1101" y="262"/>
                </a:cubicBezTo>
                <a:cubicBezTo>
                  <a:pt x="1103" y="250"/>
                  <a:pt x="1104" y="238"/>
                  <a:pt x="1104" y="226"/>
                </a:cubicBezTo>
                <a:cubicBezTo>
                  <a:pt x="1117" y="226"/>
                  <a:pt x="1130" y="228"/>
                  <a:pt x="1143" y="231"/>
                </a:cubicBezTo>
                <a:cubicBezTo>
                  <a:pt x="1159" y="235"/>
                  <a:pt x="1174" y="241"/>
                  <a:pt x="1188" y="250"/>
                </a:cubicBezTo>
                <a:cubicBezTo>
                  <a:pt x="1202" y="258"/>
                  <a:pt x="1217" y="269"/>
                  <a:pt x="1227" y="280"/>
                </a:cubicBezTo>
                <a:lnTo>
                  <a:pt x="1228" y="281"/>
                </a:lnTo>
                <a:cubicBezTo>
                  <a:pt x="1232" y="285"/>
                  <a:pt x="1238" y="286"/>
                  <a:pt x="1243" y="284"/>
                </a:cubicBezTo>
                <a:cubicBezTo>
                  <a:pt x="1249" y="281"/>
                  <a:pt x="1252" y="274"/>
                  <a:pt x="1249" y="268"/>
                </a:cubicBezTo>
                <a:close/>
              </a:path>
            </a:pathLst>
          </a:custGeom>
          <a:solidFill>
            <a:schemeClr val="accent1"/>
          </a:solidFill>
          <a:ln w="3810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Island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0DE0E5DF-73D7-4749-8643-96DB9374380F}"/>
              </a:ext>
            </a:extLst>
          </p:cNvPr>
          <p:cNvSpPr>
            <a:spLocks noChangeAspect="1"/>
          </p:cNvSpPr>
          <p:nvPr>
            <p:custDataLst>
              <p:tags r:id="rId2"/>
            </p:custDataLst>
          </p:nvPr>
        </p:nvSpPr>
        <p:spPr bwMode="auto">
          <a:xfrm>
            <a:off x="4954988" y="3534851"/>
            <a:ext cx="3992880" cy="2328904"/>
          </a:xfrm>
          <a:custGeom>
            <a:avLst/>
            <a:gdLst>
              <a:gd name="T0" fmla="*/ 1216 w 1252"/>
              <a:gd name="T1" fmla="*/ 217 h 717"/>
              <a:gd name="T2" fmla="*/ 1138 w 1252"/>
              <a:gd name="T3" fmla="*/ 159 h 717"/>
              <a:gd name="T4" fmla="*/ 1157 w 1252"/>
              <a:gd name="T5" fmla="*/ 143 h 717"/>
              <a:gd name="T6" fmla="*/ 1180 w 1252"/>
              <a:gd name="T7" fmla="*/ 131 h 717"/>
              <a:gd name="T8" fmla="*/ 1177 w 1252"/>
              <a:gd name="T9" fmla="*/ 107 h 717"/>
              <a:gd name="T10" fmla="*/ 1120 w 1252"/>
              <a:gd name="T11" fmla="*/ 100 h 717"/>
              <a:gd name="T12" fmla="*/ 1075 w 1252"/>
              <a:gd name="T13" fmla="*/ 107 h 717"/>
              <a:gd name="T14" fmla="*/ 982 w 1252"/>
              <a:gd name="T15" fmla="*/ 16 h 717"/>
              <a:gd name="T16" fmla="*/ 907 w 1252"/>
              <a:gd name="T17" fmla="*/ 8 h 717"/>
              <a:gd name="T18" fmla="*/ 914 w 1252"/>
              <a:gd name="T19" fmla="*/ 25 h 717"/>
              <a:gd name="T20" fmla="*/ 991 w 1252"/>
              <a:gd name="T21" fmla="*/ 91 h 717"/>
              <a:gd name="T22" fmla="*/ 908 w 1252"/>
              <a:gd name="T23" fmla="*/ 78 h 717"/>
              <a:gd name="T24" fmla="*/ 737 w 1252"/>
              <a:gd name="T25" fmla="*/ 125 h 717"/>
              <a:gd name="T26" fmla="*/ 748 w 1252"/>
              <a:gd name="T27" fmla="*/ 147 h 717"/>
              <a:gd name="T28" fmla="*/ 825 w 1252"/>
              <a:gd name="T29" fmla="*/ 131 h 717"/>
              <a:gd name="T30" fmla="*/ 933 w 1252"/>
              <a:gd name="T31" fmla="*/ 149 h 717"/>
              <a:gd name="T32" fmla="*/ 882 w 1252"/>
              <a:gd name="T33" fmla="*/ 179 h 717"/>
              <a:gd name="T34" fmla="*/ 851 w 1252"/>
              <a:gd name="T35" fmla="*/ 224 h 717"/>
              <a:gd name="T36" fmla="*/ 869 w 1252"/>
              <a:gd name="T37" fmla="*/ 228 h 717"/>
              <a:gd name="T38" fmla="*/ 936 w 1252"/>
              <a:gd name="T39" fmla="*/ 214 h 717"/>
              <a:gd name="T40" fmla="*/ 945 w 1252"/>
              <a:gd name="T41" fmla="*/ 221 h 717"/>
              <a:gd name="T42" fmla="*/ 796 w 1252"/>
              <a:gd name="T43" fmla="*/ 448 h 717"/>
              <a:gd name="T44" fmla="*/ 609 w 1252"/>
              <a:gd name="T45" fmla="*/ 465 h 717"/>
              <a:gd name="T46" fmla="*/ 642 w 1252"/>
              <a:gd name="T47" fmla="*/ 366 h 717"/>
              <a:gd name="T48" fmla="*/ 469 w 1252"/>
              <a:gd name="T49" fmla="*/ 157 h 717"/>
              <a:gd name="T50" fmla="*/ 236 w 1252"/>
              <a:gd name="T51" fmla="*/ 341 h 717"/>
              <a:gd name="T52" fmla="*/ 279 w 1252"/>
              <a:gd name="T53" fmla="*/ 366 h 717"/>
              <a:gd name="T54" fmla="*/ 0 w 1252"/>
              <a:gd name="T55" fmla="*/ 685 h 717"/>
              <a:gd name="T56" fmla="*/ 160 w 1252"/>
              <a:gd name="T57" fmla="*/ 697 h 717"/>
              <a:gd name="T58" fmla="*/ 347 w 1252"/>
              <a:gd name="T59" fmla="*/ 697 h 717"/>
              <a:gd name="T60" fmla="*/ 540 w 1252"/>
              <a:gd name="T61" fmla="*/ 697 h 717"/>
              <a:gd name="T62" fmla="*/ 727 w 1252"/>
              <a:gd name="T63" fmla="*/ 697 h 717"/>
              <a:gd name="T64" fmla="*/ 919 w 1252"/>
              <a:gd name="T65" fmla="*/ 697 h 717"/>
              <a:gd name="T66" fmla="*/ 1106 w 1252"/>
              <a:gd name="T67" fmla="*/ 697 h 717"/>
              <a:gd name="T68" fmla="*/ 1241 w 1252"/>
              <a:gd name="T69" fmla="*/ 679 h 717"/>
              <a:gd name="T70" fmla="*/ 873 w 1252"/>
              <a:gd name="T71" fmla="*/ 466 h 717"/>
              <a:gd name="T72" fmla="*/ 974 w 1252"/>
              <a:gd name="T73" fmla="*/ 253 h 717"/>
              <a:gd name="T74" fmla="*/ 1017 w 1252"/>
              <a:gd name="T75" fmla="*/ 230 h 717"/>
              <a:gd name="T76" fmla="*/ 1028 w 1252"/>
              <a:gd name="T77" fmla="*/ 233 h 717"/>
              <a:gd name="T78" fmla="*/ 1048 w 1252"/>
              <a:gd name="T79" fmla="*/ 303 h 717"/>
              <a:gd name="T80" fmla="*/ 1047 w 1252"/>
              <a:gd name="T81" fmla="*/ 343 h 717"/>
              <a:gd name="T82" fmla="*/ 1069 w 1252"/>
              <a:gd name="T83" fmla="*/ 352 h 717"/>
              <a:gd name="T84" fmla="*/ 1101 w 1252"/>
              <a:gd name="T85" fmla="*/ 262 h 717"/>
              <a:gd name="T86" fmla="*/ 1143 w 1252"/>
              <a:gd name="T87" fmla="*/ 231 h 717"/>
              <a:gd name="T88" fmla="*/ 1227 w 1252"/>
              <a:gd name="T89" fmla="*/ 280 h 717"/>
              <a:gd name="T90" fmla="*/ 1243 w 1252"/>
              <a:gd name="T91" fmla="*/ 284 h 7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252" h="717">
                <a:moveTo>
                  <a:pt x="1249" y="268"/>
                </a:moveTo>
                <a:cubicBezTo>
                  <a:pt x="1240" y="248"/>
                  <a:pt x="1229" y="232"/>
                  <a:pt x="1216" y="217"/>
                </a:cubicBezTo>
                <a:cubicBezTo>
                  <a:pt x="1202" y="202"/>
                  <a:pt x="1187" y="188"/>
                  <a:pt x="1169" y="176"/>
                </a:cubicBezTo>
                <a:cubicBezTo>
                  <a:pt x="1159" y="170"/>
                  <a:pt x="1149" y="164"/>
                  <a:pt x="1138" y="159"/>
                </a:cubicBezTo>
                <a:cubicBezTo>
                  <a:pt x="1138" y="158"/>
                  <a:pt x="1139" y="158"/>
                  <a:pt x="1139" y="157"/>
                </a:cubicBezTo>
                <a:cubicBezTo>
                  <a:pt x="1145" y="153"/>
                  <a:pt x="1151" y="148"/>
                  <a:pt x="1157" y="143"/>
                </a:cubicBezTo>
                <a:cubicBezTo>
                  <a:pt x="1164" y="139"/>
                  <a:pt x="1171" y="135"/>
                  <a:pt x="1178" y="131"/>
                </a:cubicBezTo>
                <a:lnTo>
                  <a:pt x="1180" y="131"/>
                </a:lnTo>
                <a:cubicBezTo>
                  <a:pt x="1183" y="129"/>
                  <a:pt x="1185" y="126"/>
                  <a:pt x="1186" y="122"/>
                </a:cubicBezTo>
                <a:cubicBezTo>
                  <a:pt x="1188" y="115"/>
                  <a:pt x="1184" y="108"/>
                  <a:pt x="1177" y="107"/>
                </a:cubicBezTo>
                <a:cubicBezTo>
                  <a:pt x="1167" y="104"/>
                  <a:pt x="1158" y="103"/>
                  <a:pt x="1149" y="101"/>
                </a:cubicBezTo>
                <a:cubicBezTo>
                  <a:pt x="1140" y="100"/>
                  <a:pt x="1130" y="100"/>
                  <a:pt x="1120" y="100"/>
                </a:cubicBezTo>
                <a:cubicBezTo>
                  <a:pt x="1110" y="100"/>
                  <a:pt x="1100" y="101"/>
                  <a:pt x="1089" y="103"/>
                </a:cubicBezTo>
                <a:cubicBezTo>
                  <a:pt x="1085" y="104"/>
                  <a:pt x="1080" y="105"/>
                  <a:pt x="1075" y="107"/>
                </a:cubicBezTo>
                <a:cubicBezTo>
                  <a:pt x="1066" y="88"/>
                  <a:pt x="1054" y="69"/>
                  <a:pt x="1039" y="54"/>
                </a:cubicBezTo>
                <a:cubicBezTo>
                  <a:pt x="1023" y="37"/>
                  <a:pt x="1002" y="24"/>
                  <a:pt x="982" y="16"/>
                </a:cubicBezTo>
                <a:cubicBezTo>
                  <a:pt x="961" y="7"/>
                  <a:pt x="941" y="3"/>
                  <a:pt x="921" y="1"/>
                </a:cubicBezTo>
                <a:cubicBezTo>
                  <a:pt x="915" y="0"/>
                  <a:pt x="910" y="3"/>
                  <a:pt x="907" y="8"/>
                </a:cubicBezTo>
                <a:cubicBezTo>
                  <a:pt x="905" y="14"/>
                  <a:pt x="907" y="22"/>
                  <a:pt x="914" y="25"/>
                </a:cubicBezTo>
                <a:lnTo>
                  <a:pt x="914" y="25"/>
                </a:lnTo>
                <a:cubicBezTo>
                  <a:pt x="931" y="33"/>
                  <a:pt x="947" y="42"/>
                  <a:pt x="961" y="53"/>
                </a:cubicBezTo>
                <a:cubicBezTo>
                  <a:pt x="974" y="64"/>
                  <a:pt x="984" y="77"/>
                  <a:pt x="991" y="91"/>
                </a:cubicBezTo>
                <a:cubicBezTo>
                  <a:pt x="991" y="91"/>
                  <a:pt x="991" y="92"/>
                  <a:pt x="992" y="92"/>
                </a:cubicBezTo>
                <a:cubicBezTo>
                  <a:pt x="964" y="83"/>
                  <a:pt x="936" y="79"/>
                  <a:pt x="908" y="78"/>
                </a:cubicBezTo>
                <a:cubicBezTo>
                  <a:pt x="877" y="77"/>
                  <a:pt x="847" y="81"/>
                  <a:pt x="818" y="89"/>
                </a:cubicBezTo>
                <a:cubicBezTo>
                  <a:pt x="789" y="97"/>
                  <a:pt x="761" y="108"/>
                  <a:pt x="737" y="125"/>
                </a:cubicBezTo>
                <a:cubicBezTo>
                  <a:pt x="732" y="128"/>
                  <a:pt x="730" y="134"/>
                  <a:pt x="732" y="140"/>
                </a:cubicBezTo>
                <a:cubicBezTo>
                  <a:pt x="734" y="146"/>
                  <a:pt x="742" y="149"/>
                  <a:pt x="748" y="147"/>
                </a:cubicBezTo>
                <a:lnTo>
                  <a:pt x="748" y="147"/>
                </a:lnTo>
                <a:cubicBezTo>
                  <a:pt x="773" y="137"/>
                  <a:pt x="799" y="133"/>
                  <a:pt x="825" y="131"/>
                </a:cubicBezTo>
                <a:cubicBezTo>
                  <a:pt x="851" y="130"/>
                  <a:pt x="877" y="133"/>
                  <a:pt x="901" y="138"/>
                </a:cubicBezTo>
                <a:cubicBezTo>
                  <a:pt x="912" y="141"/>
                  <a:pt x="923" y="145"/>
                  <a:pt x="933" y="149"/>
                </a:cubicBezTo>
                <a:cubicBezTo>
                  <a:pt x="929" y="151"/>
                  <a:pt x="924" y="153"/>
                  <a:pt x="919" y="156"/>
                </a:cubicBezTo>
                <a:cubicBezTo>
                  <a:pt x="906" y="162"/>
                  <a:pt x="894" y="170"/>
                  <a:pt x="882" y="179"/>
                </a:cubicBezTo>
                <a:cubicBezTo>
                  <a:pt x="871" y="188"/>
                  <a:pt x="860" y="198"/>
                  <a:pt x="851" y="211"/>
                </a:cubicBezTo>
                <a:cubicBezTo>
                  <a:pt x="849" y="215"/>
                  <a:pt x="848" y="220"/>
                  <a:pt x="851" y="224"/>
                </a:cubicBezTo>
                <a:cubicBezTo>
                  <a:pt x="854" y="230"/>
                  <a:pt x="862" y="233"/>
                  <a:pt x="868" y="229"/>
                </a:cubicBezTo>
                <a:lnTo>
                  <a:pt x="869" y="228"/>
                </a:lnTo>
                <a:cubicBezTo>
                  <a:pt x="878" y="223"/>
                  <a:pt x="890" y="220"/>
                  <a:pt x="901" y="218"/>
                </a:cubicBezTo>
                <a:cubicBezTo>
                  <a:pt x="912" y="215"/>
                  <a:pt x="924" y="214"/>
                  <a:pt x="936" y="214"/>
                </a:cubicBezTo>
                <a:cubicBezTo>
                  <a:pt x="942" y="214"/>
                  <a:pt x="948" y="214"/>
                  <a:pt x="954" y="214"/>
                </a:cubicBezTo>
                <a:cubicBezTo>
                  <a:pt x="951" y="217"/>
                  <a:pt x="948" y="219"/>
                  <a:pt x="945" y="221"/>
                </a:cubicBezTo>
                <a:cubicBezTo>
                  <a:pt x="909" y="250"/>
                  <a:pt x="879" y="284"/>
                  <a:pt x="854" y="323"/>
                </a:cubicBezTo>
                <a:cubicBezTo>
                  <a:pt x="828" y="361"/>
                  <a:pt x="809" y="404"/>
                  <a:pt x="796" y="448"/>
                </a:cubicBezTo>
                <a:cubicBezTo>
                  <a:pt x="793" y="459"/>
                  <a:pt x="790" y="469"/>
                  <a:pt x="788" y="480"/>
                </a:cubicBezTo>
                <a:cubicBezTo>
                  <a:pt x="729" y="470"/>
                  <a:pt x="669" y="465"/>
                  <a:pt x="609" y="465"/>
                </a:cubicBezTo>
                <a:lnTo>
                  <a:pt x="609" y="366"/>
                </a:lnTo>
                <a:lnTo>
                  <a:pt x="642" y="366"/>
                </a:lnTo>
                <a:cubicBezTo>
                  <a:pt x="661" y="366"/>
                  <a:pt x="666" y="354"/>
                  <a:pt x="652" y="341"/>
                </a:cubicBezTo>
                <a:lnTo>
                  <a:pt x="469" y="157"/>
                </a:lnTo>
                <a:cubicBezTo>
                  <a:pt x="455" y="143"/>
                  <a:pt x="433" y="143"/>
                  <a:pt x="419" y="157"/>
                </a:cubicBezTo>
                <a:lnTo>
                  <a:pt x="236" y="341"/>
                </a:lnTo>
                <a:cubicBezTo>
                  <a:pt x="222" y="354"/>
                  <a:pt x="227" y="366"/>
                  <a:pt x="246" y="366"/>
                </a:cubicBezTo>
                <a:lnTo>
                  <a:pt x="279" y="366"/>
                </a:lnTo>
                <a:lnTo>
                  <a:pt x="279" y="517"/>
                </a:lnTo>
                <a:cubicBezTo>
                  <a:pt x="171" y="554"/>
                  <a:pt x="75" y="610"/>
                  <a:pt x="0" y="685"/>
                </a:cubicBezTo>
                <a:cubicBezTo>
                  <a:pt x="20" y="679"/>
                  <a:pt x="42" y="675"/>
                  <a:pt x="64" y="675"/>
                </a:cubicBezTo>
                <a:cubicBezTo>
                  <a:pt x="98" y="675"/>
                  <a:pt x="131" y="683"/>
                  <a:pt x="160" y="697"/>
                </a:cubicBezTo>
                <a:cubicBezTo>
                  <a:pt x="188" y="710"/>
                  <a:pt x="220" y="717"/>
                  <a:pt x="253" y="717"/>
                </a:cubicBezTo>
                <a:cubicBezTo>
                  <a:pt x="287" y="717"/>
                  <a:pt x="319" y="710"/>
                  <a:pt x="347" y="697"/>
                </a:cubicBezTo>
                <a:cubicBezTo>
                  <a:pt x="376" y="683"/>
                  <a:pt x="409" y="675"/>
                  <a:pt x="443" y="675"/>
                </a:cubicBezTo>
                <a:cubicBezTo>
                  <a:pt x="477" y="675"/>
                  <a:pt x="510" y="683"/>
                  <a:pt x="540" y="697"/>
                </a:cubicBezTo>
                <a:cubicBezTo>
                  <a:pt x="568" y="710"/>
                  <a:pt x="600" y="717"/>
                  <a:pt x="633" y="717"/>
                </a:cubicBezTo>
                <a:cubicBezTo>
                  <a:pt x="666" y="717"/>
                  <a:pt x="698" y="710"/>
                  <a:pt x="727" y="697"/>
                </a:cubicBezTo>
                <a:cubicBezTo>
                  <a:pt x="756" y="683"/>
                  <a:pt x="789" y="675"/>
                  <a:pt x="823" y="675"/>
                </a:cubicBezTo>
                <a:cubicBezTo>
                  <a:pt x="857" y="675"/>
                  <a:pt x="890" y="683"/>
                  <a:pt x="919" y="697"/>
                </a:cubicBezTo>
                <a:cubicBezTo>
                  <a:pt x="947" y="710"/>
                  <a:pt x="979" y="717"/>
                  <a:pt x="1012" y="717"/>
                </a:cubicBezTo>
                <a:cubicBezTo>
                  <a:pt x="1046" y="717"/>
                  <a:pt x="1077" y="710"/>
                  <a:pt x="1106" y="697"/>
                </a:cubicBezTo>
                <a:cubicBezTo>
                  <a:pt x="1135" y="683"/>
                  <a:pt x="1168" y="675"/>
                  <a:pt x="1202" y="675"/>
                </a:cubicBezTo>
                <a:cubicBezTo>
                  <a:pt x="1215" y="675"/>
                  <a:pt x="1228" y="677"/>
                  <a:pt x="1241" y="679"/>
                </a:cubicBezTo>
                <a:cubicBezTo>
                  <a:pt x="1136" y="591"/>
                  <a:pt x="1007" y="530"/>
                  <a:pt x="869" y="497"/>
                </a:cubicBezTo>
                <a:cubicBezTo>
                  <a:pt x="870" y="486"/>
                  <a:pt x="871" y="476"/>
                  <a:pt x="873" y="466"/>
                </a:cubicBezTo>
                <a:cubicBezTo>
                  <a:pt x="878" y="427"/>
                  <a:pt x="889" y="388"/>
                  <a:pt x="906" y="352"/>
                </a:cubicBezTo>
                <a:cubicBezTo>
                  <a:pt x="923" y="316"/>
                  <a:pt x="946" y="282"/>
                  <a:pt x="974" y="253"/>
                </a:cubicBezTo>
                <a:cubicBezTo>
                  <a:pt x="982" y="244"/>
                  <a:pt x="991" y="236"/>
                  <a:pt x="1000" y="228"/>
                </a:cubicBezTo>
                <a:cubicBezTo>
                  <a:pt x="1006" y="229"/>
                  <a:pt x="1012" y="230"/>
                  <a:pt x="1017" y="230"/>
                </a:cubicBezTo>
                <a:cubicBezTo>
                  <a:pt x="1019" y="230"/>
                  <a:pt x="1021" y="230"/>
                  <a:pt x="1023" y="230"/>
                </a:cubicBezTo>
                <a:cubicBezTo>
                  <a:pt x="1025" y="231"/>
                  <a:pt x="1026" y="232"/>
                  <a:pt x="1028" y="233"/>
                </a:cubicBezTo>
                <a:cubicBezTo>
                  <a:pt x="1033" y="242"/>
                  <a:pt x="1037" y="253"/>
                  <a:pt x="1041" y="265"/>
                </a:cubicBezTo>
                <a:cubicBezTo>
                  <a:pt x="1044" y="277"/>
                  <a:pt x="1047" y="290"/>
                  <a:pt x="1048" y="303"/>
                </a:cubicBezTo>
                <a:cubicBezTo>
                  <a:pt x="1049" y="316"/>
                  <a:pt x="1049" y="329"/>
                  <a:pt x="1047" y="341"/>
                </a:cubicBezTo>
                <a:lnTo>
                  <a:pt x="1047" y="343"/>
                </a:lnTo>
                <a:cubicBezTo>
                  <a:pt x="1046" y="347"/>
                  <a:pt x="1048" y="352"/>
                  <a:pt x="1052" y="355"/>
                </a:cubicBezTo>
                <a:cubicBezTo>
                  <a:pt x="1057" y="359"/>
                  <a:pt x="1065" y="358"/>
                  <a:pt x="1069" y="352"/>
                </a:cubicBezTo>
                <a:cubicBezTo>
                  <a:pt x="1079" y="339"/>
                  <a:pt x="1085" y="324"/>
                  <a:pt x="1090" y="309"/>
                </a:cubicBezTo>
                <a:cubicBezTo>
                  <a:pt x="1095" y="294"/>
                  <a:pt x="1099" y="278"/>
                  <a:pt x="1101" y="262"/>
                </a:cubicBezTo>
                <a:cubicBezTo>
                  <a:pt x="1103" y="250"/>
                  <a:pt x="1104" y="238"/>
                  <a:pt x="1104" y="226"/>
                </a:cubicBezTo>
                <a:cubicBezTo>
                  <a:pt x="1117" y="226"/>
                  <a:pt x="1130" y="228"/>
                  <a:pt x="1143" y="231"/>
                </a:cubicBezTo>
                <a:cubicBezTo>
                  <a:pt x="1159" y="235"/>
                  <a:pt x="1174" y="241"/>
                  <a:pt x="1188" y="250"/>
                </a:cubicBezTo>
                <a:cubicBezTo>
                  <a:pt x="1202" y="258"/>
                  <a:pt x="1217" y="269"/>
                  <a:pt x="1227" y="280"/>
                </a:cubicBezTo>
                <a:lnTo>
                  <a:pt x="1228" y="281"/>
                </a:lnTo>
                <a:cubicBezTo>
                  <a:pt x="1232" y="285"/>
                  <a:pt x="1238" y="286"/>
                  <a:pt x="1243" y="284"/>
                </a:cubicBezTo>
                <a:cubicBezTo>
                  <a:pt x="1249" y="281"/>
                  <a:pt x="1252" y="274"/>
                  <a:pt x="1249" y="268"/>
                </a:cubicBezTo>
                <a:close/>
              </a:path>
            </a:pathLst>
          </a:custGeom>
          <a:solidFill>
            <a:schemeClr val="accent1"/>
          </a:solidFill>
          <a:ln w="3810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Island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591037B8-2873-42F1-9462-D03E52DD1D77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 bwMode="auto">
          <a:xfrm>
            <a:off x="763199" y="3429000"/>
            <a:ext cx="3992880" cy="2328904"/>
          </a:xfrm>
          <a:custGeom>
            <a:avLst/>
            <a:gdLst>
              <a:gd name="T0" fmla="*/ 1216 w 1252"/>
              <a:gd name="T1" fmla="*/ 217 h 717"/>
              <a:gd name="T2" fmla="*/ 1138 w 1252"/>
              <a:gd name="T3" fmla="*/ 159 h 717"/>
              <a:gd name="T4" fmla="*/ 1157 w 1252"/>
              <a:gd name="T5" fmla="*/ 143 h 717"/>
              <a:gd name="T6" fmla="*/ 1180 w 1252"/>
              <a:gd name="T7" fmla="*/ 131 h 717"/>
              <a:gd name="T8" fmla="*/ 1177 w 1252"/>
              <a:gd name="T9" fmla="*/ 107 h 717"/>
              <a:gd name="T10" fmla="*/ 1120 w 1252"/>
              <a:gd name="T11" fmla="*/ 100 h 717"/>
              <a:gd name="T12" fmla="*/ 1075 w 1252"/>
              <a:gd name="T13" fmla="*/ 107 h 717"/>
              <a:gd name="T14" fmla="*/ 982 w 1252"/>
              <a:gd name="T15" fmla="*/ 16 h 717"/>
              <a:gd name="T16" fmla="*/ 907 w 1252"/>
              <a:gd name="T17" fmla="*/ 8 h 717"/>
              <a:gd name="T18" fmla="*/ 914 w 1252"/>
              <a:gd name="T19" fmla="*/ 25 h 717"/>
              <a:gd name="T20" fmla="*/ 991 w 1252"/>
              <a:gd name="T21" fmla="*/ 91 h 717"/>
              <a:gd name="T22" fmla="*/ 908 w 1252"/>
              <a:gd name="T23" fmla="*/ 78 h 717"/>
              <a:gd name="T24" fmla="*/ 737 w 1252"/>
              <a:gd name="T25" fmla="*/ 125 h 717"/>
              <a:gd name="T26" fmla="*/ 748 w 1252"/>
              <a:gd name="T27" fmla="*/ 147 h 717"/>
              <a:gd name="T28" fmla="*/ 825 w 1252"/>
              <a:gd name="T29" fmla="*/ 131 h 717"/>
              <a:gd name="T30" fmla="*/ 933 w 1252"/>
              <a:gd name="T31" fmla="*/ 149 h 717"/>
              <a:gd name="T32" fmla="*/ 882 w 1252"/>
              <a:gd name="T33" fmla="*/ 179 h 717"/>
              <a:gd name="T34" fmla="*/ 851 w 1252"/>
              <a:gd name="T35" fmla="*/ 224 h 717"/>
              <a:gd name="T36" fmla="*/ 869 w 1252"/>
              <a:gd name="T37" fmla="*/ 228 h 717"/>
              <a:gd name="T38" fmla="*/ 936 w 1252"/>
              <a:gd name="T39" fmla="*/ 214 h 717"/>
              <a:gd name="T40" fmla="*/ 945 w 1252"/>
              <a:gd name="T41" fmla="*/ 221 h 717"/>
              <a:gd name="T42" fmla="*/ 796 w 1252"/>
              <a:gd name="T43" fmla="*/ 448 h 717"/>
              <a:gd name="T44" fmla="*/ 609 w 1252"/>
              <a:gd name="T45" fmla="*/ 465 h 717"/>
              <a:gd name="T46" fmla="*/ 642 w 1252"/>
              <a:gd name="T47" fmla="*/ 366 h 717"/>
              <a:gd name="T48" fmla="*/ 469 w 1252"/>
              <a:gd name="T49" fmla="*/ 157 h 717"/>
              <a:gd name="T50" fmla="*/ 236 w 1252"/>
              <a:gd name="T51" fmla="*/ 341 h 717"/>
              <a:gd name="T52" fmla="*/ 279 w 1252"/>
              <a:gd name="T53" fmla="*/ 366 h 717"/>
              <a:gd name="T54" fmla="*/ 0 w 1252"/>
              <a:gd name="T55" fmla="*/ 685 h 717"/>
              <a:gd name="T56" fmla="*/ 160 w 1252"/>
              <a:gd name="T57" fmla="*/ 697 h 717"/>
              <a:gd name="T58" fmla="*/ 347 w 1252"/>
              <a:gd name="T59" fmla="*/ 697 h 717"/>
              <a:gd name="T60" fmla="*/ 540 w 1252"/>
              <a:gd name="T61" fmla="*/ 697 h 717"/>
              <a:gd name="T62" fmla="*/ 727 w 1252"/>
              <a:gd name="T63" fmla="*/ 697 h 717"/>
              <a:gd name="T64" fmla="*/ 919 w 1252"/>
              <a:gd name="T65" fmla="*/ 697 h 717"/>
              <a:gd name="T66" fmla="*/ 1106 w 1252"/>
              <a:gd name="T67" fmla="*/ 697 h 717"/>
              <a:gd name="T68" fmla="*/ 1241 w 1252"/>
              <a:gd name="T69" fmla="*/ 679 h 717"/>
              <a:gd name="T70" fmla="*/ 873 w 1252"/>
              <a:gd name="T71" fmla="*/ 466 h 717"/>
              <a:gd name="T72" fmla="*/ 974 w 1252"/>
              <a:gd name="T73" fmla="*/ 253 h 717"/>
              <a:gd name="T74" fmla="*/ 1017 w 1252"/>
              <a:gd name="T75" fmla="*/ 230 h 717"/>
              <a:gd name="T76" fmla="*/ 1028 w 1252"/>
              <a:gd name="T77" fmla="*/ 233 h 717"/>
              <a:gd name="T78" fmla="*/ 1048 w 1252"/>
              <a:gd name="T79" fmla="*/ 303 h 717"/>
              <a:gd name="T80" fmla="*/ 1047 w 1252"/>
              <a:gd name="T81" fmla="*/ 343 h 717"/>
              <a:gd name="T82" fmla="*/ 1069 w 1252"/>
              <a:gd name="T83" fmla="*/ 352 h 717"/>
              <a:gd name="T84" fmla="*/ 1101 w 1252"/>
              <a:gd name="T85" fmla="*/ 262 h 717"/>
              <a:gd name="T86" fmla="*/ 1143 w 1252"/>
              <a:gd name="T87" fmla="*/ 231 h 717"/>
              <a:gd name="T88" fmla="*/ 1227 w 1252"/>
              <a:gd name="T89" fmla="*/ 280 h 717"/>
              <a:gd name="T90" fmla="*/ 1243 w 1252"/>
              <a:gd name="T91" fmla="*/ 284 h 7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252" h="717">
                <a:moveTo>
                  <a:pt x="1249" y="268"/>
                </a:moveTo>
                <a:cubicBezTo>
                  <a:pt x="1240" y="248"/>
                  <a:pt x="1229" y="232"/>
                  <a:pt x="1216" y="217"/>
                </a:cubicBezTo>
                <a:cubicBezTo>
                  <a:pt x="1202" y="202"/>
                  <a:pt x="1187" y="188"/>
                  <a:pt x="1169" y="176"/>
                </a:cubicBezTo>
                <a:cubicBezTo>
                  <a:pt x="1159" y="170"/>
                  <a:pt x="1149" y="164"/>
                  <a:pt x="1138" y="159"/>
                </a:cubicBezTo>
                <a:cubicBezTo>
                  <a:pt x="1138" y="158"/>
                  <a:pt x="1139" y="158"/>
                  <a:pt x="1139" y="157"/>
                </a:cubicBezTo>
                <a:cubicBezTo>
                  <a:pt x="1145" y="153"/>
                  <a:pt x="1151" y="148"/>
                  <a:pt x="1157" y="143"/>
                </a:cubicBezTo>
                <a:cubicBezTo>
                  <a:pt x="1164" y="139"/>
                  <a:pt x="1171" y="135"/>
                  <a:pt x="1178" y="131"/>
                </a:cubicBezTo>
                <a:lnTo>
                  <a:pt x="1180" y="131"/>
                </a:lnTo>
                <a:cubicBezTo>
                  <a:pt x="1183" y="129"/>
                  <a:pt x="1185" y="126"/>
                  <a:pt x="1186" y="122"/>
                </a:cubicBezTo>
                <a:cubicBezTo>
                  <a:pt x="1188" y="115"/>
                  <a:pt x="1184" y="108"/>
                  <a:pt x="1177" y="107"/>
                </a:cubicBezTo>
                <a:cubicBezTo>
                  <a:pt x="1167" y="104"/>
                  <a:pt x="1158" y="103"/>
                  <a:pt x="1149" y="101"/>
                </a:cubicBezTo>
                <a:cubicBezTo>
                  <a:pt x="1140" y="100"/>
                  <a:pt x="1130" y="100"/>
                  <a:pt x="1120" y="100"/>
                </a:cubicBezTo>
                <a:cubicBezTo>
                  <a:pt x="1110" y="100"/>
                  <a:pt x="1100" y="101"/>
                  <a:pt x="1089" y="103"/>
                </a:cubicBezTo>
                <a:cubicBezTo>
                  <a:pt x="1085" y="104"/>
                  <a:pt x="1080" y="105"/>
                  <a:pt x="1075" y="107"/>
                </a:cubicBezTo>
                <a:cubicBezTo>
                  <a:pt x="1066" y="88"/>
                  <a:pt x="1054" y="69"/>
                  <a:pt x="1039" y="54"/>
                </a:cubicBezTo>
                <a:cubicBezTo>
                  <a:pt x="1023" y="37"/>
                  <a:pt x="1002" y="24"/>
                  <a:pt x="982" y="16"/>
                </a:cubicBezTo>
                <a:cubicBezTo>
                  <a:pt x="961" y="7"/>
                  <a:pt x="941" y="3"/>
                  <a:pt x="921" y="1"/>
                </a:cubicBezTo>
                <a:cubicBezTo>
                  <a:pt x="915" y="0"/>
                  <a:pt x="910" y="3"/>
                  <a:pt x="907" y="8"/>
                </a:cubicBezTo>
                <a:cubicBezTo>
                  <a:pt x="905" y="14"/>
                  <a:pt x="907" y="22"/>
                  <a:pt x="914" y="25"/>
                </a:cubicBezTo>
                <a:lnTo>
                  <a:pt x="914" y="25"/>
                </a:lnTo>
                <a:cubicBezTo>
                  <a:pt x="931" y="33"/>
                  <a:pt x="947" y="42"/>
                  <a:pt x="961" y="53"/>
                </a:cubicBezTo>
                <a:cubicBezTo>
                  <a:pt x="974" y="64"/>
                  <a:pt x="984" y="77"/>
                  <a:pt x="991" y="91"/>
                </a:cubicBezTo>
                <a:cubicBezTo>
                  <a:pt x="991" y="91"/>
                  <a:pt x="991" y="92"/>
                  <a:pt x="992" y="92"/>
                </a:cubicBezTo>
                <a:cubicBezTo>
                  <a:pt x="964" y="83"/>
                  <a:pt x="936" y="79"/>
                  <a:pt x="908" y="78"/>
                </a:cubicBezTo>
                <a:cubicBezTo>
                  <a:pt x="877" y="77"/>
                  <a:pt x="847" y="81"/>
                  <a:pt x="818" y="89"/>
                </a:cubicBezTo>
                <a:cubicBezTo>
                  <a:pt x="789" y="97"/>
                  <a:pt x="761" y="108"/>
                  <a:pt x="737" y="125"/>
                </a:cubicBezTo>
                <a:cubicBezTo>
                  <a:pt x="732" y="128"/>
                  <a:pt x="730" y="134"/>
                  <a:pt x="732" y="140"/>
                </a:cubicBezTo>
                <a:cubicBezTo>
                  <a:pt x="734" y="146"/>
                  <a:pt x="742" y="149"/>
                  <a:pt x="748" y="147"/>
                </a:cubicBezTo>
                <a:lnTo>
                  <a:pt x="748" y="147"/>
                </a:lnTo>
                <a:cubicBezTo>
                  <a:pt x="773" y="137"/>
                  <a:pt x="799" y="133"/>
                  <a:pt x="825" y="131"/>
                </a:cubicBezTo>
                <a:cubicBezTo>
                  <a:pt x="851" y="130"/>
                  <a:pt x="877" y="133"/>
                  <a:pt x="901" y="138"/>
                </a:cubicBezTo>
                <a:cubicBezTo>
                  <a:pt x="912" y="141"/>
                  <a:pt x="923" y="145"/>
                  <a:pt x="933" y="149"/>
                </a:cubicBezTo>
                <a:cubicBezTo>
                  <a:pt x="929" y="151"/>
                  <a:pt x="924" y="153"/>
                  <a:pt x="919" y="156"/>
                </a:cubicBezTo>
                <a:cubicBezTo>
                  <a:pt x="906" y="162"/>
                  <a:pt x="894" y="170"/>
                  <a:pt x="882" y="179"/>
                </a:cubicBezTo>
                <a:cubicBezTo>
                  <a:pt x="871" y="188"/>
                  <a:pt x="860" y="198"/>
                  <a:pt x="851" y="211"/>
                </a:cubicBezTo>
                <a:cubicBezTo>
                  <a:pt x="849" y="215"/>
                  <a:pt x="848" y="220"/>
                  <a:pt x="851" y="224"/>
                </a:cubicBezTo>
                <a:cubicBezTo>
                  <a:pt x="854" y="230"/>
                  <a:pt x="862" y="233"/>
                  <a:pt x="868" y="229"/>
                </a:cubicBezTo>
                <a:lnTo>
                  <a:pt x="869" y="228"/>
                </a:lnTo>
                <a:cubicBezTo>
                  <a:pt x="878" y="223"/>
                  <a:pt x="890" y="220"/>
                  <a:pt x="901" y="218"/>
                </a:cubicBezTo>
                <a:cubicBezTo>
                  <a:pt x="912" y="215"/>
                  <a:pt x="924" y="214"/>
                  <a:pt x="936" y="214"/>
                </a:cubicBezTo>
                <a:cubicBezTo>
                  <a:pt x="942" y="214"/>
                  <a:pt x="948" y="214"/>
                  <a:pt x="954" y="214"/>
                </a:cubicBezTo>
                <a:cubicBezTo>
                  <a:pt x="951" y="217"/>
                  <a:pt x="948" y="219"/>
                  <a:pt x="945" y="221"/>
                </a:cubicBezTo>
                <a:cubicBezTo>
                  <a:pt x="909" y="250"/>
                  <a:pt x="879" y="284"/>
                  <a:pt x="854" y="323"/>
                </a:cubicBezTo>
                <a:cubicBezTo>
                  <a:pt x="828" y="361"/>
                  <a:pt x="809" y="404"/>
                  <a:pt x="796" y="448"/>
                </a:cubicBezTo>
                <a:cubicBezTo>
                  <a:pt x="793" y="459"/>
                  <a:pt x="790" y="469"/>
                  <a:pt x="788" y="480"/>
                </a:cubicBezTo>
                <a:cubicBezTo>
                  <a:pt x="729" y="470"/>
                  <a:pt x="669" y="465"/>
                  <a:pt x="609" y="465"/>
                </a:cubicBezTo>
                <a:lnTo>
                  <a:pt x="609" y="366"/>
                </a:lnTo>
                <a:lnTo>
                  <a:pt x="642" y="366"/>
                </a:lnTo>
                <a:cubicBezTo>
                  <a:pt x="661" y="366"/>
                  <a:pt x="666" y="354"/>
                  <a:pt x="652" y="341"/>
                </a:cubicBezTo>
                <a:lnTo>
                  <a:pt x="469" y="157"/>
                </a:lnTo>
                <a:cubicBezTo>
                  <a:pt x="455" y="143"/>
                  <a:pt x="433" y="143"/>
                  <a:pt x="419" y="157"/>
                </a:cubicBezTo>
                <a:lnTo>
                  <a:pt x="236" y="341"/>
                </a:lnTo>
                <a:cubicBezTo>
                  <a:pt x="222" y="354"/>
                  <a:pt x="227" y="366"/>
                  <a:pt x="246" y="366"/>
                </a:cubicBezTo>
                <a:lnTo>
                  <a:pt x="279" y="366"/>
                </a:lnTo>
                <a:lnTo>
                  <a:pt x="279" y="517"/>
                </a:lnTo>
                <a:cubicBezTo>
                  <a:pt x="171" y="554"/>
                  <a:pt x="75" y="610"/>
                  <a:pt x="0" y="685"/>
                </a:cubicBezTo>
                <a:cubicBezTo>
                  <a:pt x="20" y="679"/>
                  <a:pt x="42" y="675"/>
                  <a:pt x="64" y="675"/>
                </a:cubicBezTo>
                <a:cubicBezTo>
                  <a:pt x="98" y="675"/>
                  <a:pt x="131" y="683"/>
                  <a:pt x="160" y="697"/>
                </a:cubicBezTo>
                <a:cubicBezTo>
                  <a:pt x="188" y="710"/>
                  <a:pt x="220" y="717"/>
                  <a:pt x="253" y="717"/>
                </a:cubicBezTo>
                <a:cubicBezTo>
                  <a:pt x="287" y="717"/>
                  <a:pt x="319" y="710"/>
                  <a:pt x="347" y="697"/>
                </a:cubicBezTo>
                <a:cubicBezTo>
                  <a:pt x="376" y="683"/>
                  <a:pt x="409" y="675"/>
                  <a:pt x="443" y="675"/>
                </a:cubicBezTo>
                <a:cubicBezTo>
                  <a:pt x="477" y="675"/>
                  <a:pt x="510" y="683"/>
                  <a:pt x="540" y="697"/>
                </a:cubicBezTo>
                <a:cubicBezTo>
                  <a:pt x="568" y="710"/>
                  <a:pt x="600" y="717"/>
                  <a:pt x="633" y="717"/>
                </a:cubicBezTo>
                <a:cubicBezTo>
                  <a:pt x="666" y="717"/>
                  <a:pt x="698" y="710"/>
                  <a:pt x="727" y="697"/>
                </a:cubicBezTo>
                <a:cubicBezTo>
                  <a:pt x="756" y="683"/>
                  <a:pt x="789" y="675"/>
                  <a:pt x="823" y="675"/>
                </a:cubicBezTo>
                <a:cubicBezTo>
                  <a:pt x="857" y="675"/>
                  <a:pt x="890" y="683"/>
                  <a:pt x="919" y="697"/>
                </a:cubicBezTo>
                <a:cubicBezTo>
                  <a:pt x="947" y="710"/>
                  <a:pt x="979" y="717"/>
                  <a:pt x="1012" y="717"/>
                </a:cubicBezTo>
                <a:cubicBezTo>
                  <a:pt x="1046" y="717"/>
                  <a:pt x="1077" y="710"/>
                  <a:pt x="1106" y="697"/>
                </a:cubicBezTo>
                <a:cubicBezTo>
                  <a:pt x="1135" y="683"/>
                  <a:pt x="1168" y="675"/>
                  <a:pt x="1202" y="675"/>
                </a:cubicBezTo>
                <a:cubicBezTo>
                  <a:pt x="1215" y="675"/>
                  <a:pt x="1228" y="677"/>
                  <a:pt x="1241" y="679"/>
                </a:cubicBezTo>
                <a:cubicBezTo>
                  <a:pt x="1136" y="591"/>
                  <a:pt x="1007" y="530"/>
                  <a:pt x="869" y="497"/>
                </a:cubicBezTo>
                <a:cubicBezTo>
                  <a:pt x="870" y="486"/>
                  <a:pt x="871" y="476"/>
                  <a:pt x="873" y="466"/>
                </a:cubicBezTo>
                <a:cubicBezTo>
                  <a:pt x="878" y="427"/>
                  <a:pt x="889" y="388"/>
                  <a:pt x="906" y="352"/>
                </a:cubicBezTo>
                <a:cubicBezTo>
                  <a:pt x="923" y="316"/>
                  <a:pt x="946" y="282"/>
                  <a:pt x="974" y="253"/>
                </a:cubicBezTo>
                <a:cubicBezTo>
                  <a:pt x="982" y="244"/>
                  <a:pt x="991" y="236"/>
                  <a:pt x="1000" y="228"/>
                </a:cubicBezTo>
                <a:cubicBezTo>
                  <a:pt x="1006" y="229"/>
                  <a:pt x="1012" y="230"/>
                  <a:pt x="1017" y="230"/>
                </a:cubicBezTo>
                <a:cubicBezTo>
                  <a:pt x="1019" y="230"/>
                  <a:pt x="1021" y="230"/>
                  <a:pt x="1023" y="230"/>
                </a:cubicBezTo>
                <a:cubicBezTo>
                  <a:pt x="1025" y="231"/>
                  <a:pt x="1026" y="232"/>
                  <a:pt x="1028" y="233"/>
                </a:cubicBezTo>
                <a:cubicBezTo>
                  <a:pt x="1033" y="242"/>
                  <a:pt x="1037" y="253"/>
                  <a:pt x="1041" y="265"/>
                </a:cubicBezTo>
                <a:cubicBezTo>
                  <a:pt x="1044" y="277"/>
                  <a:pt x="1047" y="290"/>
                  <a:pt x="1048" y="303"/>
                </a:cubicBezTo>
                <a:cubicBezTo>
                  <a:pt x="1049" y="316"/>
                  <a:pt x="1049" y="329"/>
                  <a:pt x="1047" y="341"/>
                </a:cubicBezTo>
                <a:lnTo>
                  <a:pt x="1047" y="343"/>
                </a:lnTo>
                <a:cubicBezTo>
                  <a:pt x="1046" y="347"/>
                  <a:pt x="1048" y="352"/>
                  <a:pt x="1052" y="355"/>
                </a:cubicBezTo>
                <a:cubicBezTo>
                  <a:pt x="1057" y="359"/>
                  <a:pt x="1065" y="358"/>
                  <a:pt x="1069" y="352"/>
                </a:cubicBezTo>
                <a:cubicBezTo>
                  <a:pt x="1079" y="339"/>
                  <a:pt x="1085" y="324"/>
                  <a:pt x="1090" y="309"/>
                </a:cubicBezTo>
                <a:cubicBezTo>
                  <a:pt x="1095" y="294"/>
                  <a:pt x="1099" y="278"/>
                  <a:pt x="1101" y="262"/>
                </a:cubicBezTo>
                <a:cubicBezTo>
                  <a:pt x="1103" y="250"/>
                  <a:pt x="1104" y="238"/>
                  <a:pt x="1104" y="226"/>
                </a:cubicBezTo>
                <a:cubicBezTo>
                  <a:pt x="1117" y="226"/>
                  <a:pt x="1130" y="228"/>
                  <a:pt x="1143" y="231"/>
                </a:cubicBezTo>
                <a:cubicBezTo>
                  <a:pt x="1159" y="235"/>
                  <a:pt x="1174" y="241"/>
                  <a:pt x="1188" y="250"/>
                </a:cubicBezTo>
                <a:cubicBezTo>
                  <a:pt x="1202" y="258"/>
                  <a:pt x="1217" y="269"/>
                  <a:pt x="1227" y="280"/>
                </a:cubicBezTo>
                <a:lnTo>
                  <a:pt x="1228" y="281"/>
                </a:lnTo>
                <a:cubicBezTo>
                  <a:pt x="1232" y="285"/>
                  <a:pt x="1238" y="286"/>
                  <a:pt x="1243" y="284"/>
                </a:cubicBezTo>
                <a:cubicBezTo>
                  <a:pt x="1249" y="281"/>
                  <a:pt x="1252" y="274"/>
                  <a:pt x="1249" y="268"/>
                </a:cubicBezTo>
                <a:close/>
              </a:path>
            </a:pathLst>
          </a:custGeom>
          <a:solidFill>
            <a:schemeClr val="accent1"/>
          </a:solidFill>
          <a:ln w="3810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F1C5C0C-AC7B-43DF-9628-85D5C10848D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008036" y="1985273"/>
            <a:ext cx="3032760" cy="1091882"/>
          </a:xfrm>
        </p:spPr>
        <p:txBody>
          <a:bodyPr/>
          <a:lstStyle/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/>
              <a:t>Xác định hòn đảo.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/>
              <a:t>Đếm số hòn đảo.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EBC28A8F-85BF-4C03-A361-AB675812E608}"/>
              </a:ext>
            </a:extLst>
          </p:cNvPr>
          <p:cNvSpPr txBox="1">
            <a:spLocks/>
          </p:cNvSpPr>
          <p:nvPr/>
        </p:nvSpPr>
        <p:spPr>
          <a:xfrm>
            <a:off x="952832" y="1122361"/>
            <a:ext cx="5143168" cy="5474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60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marR="0" lvl="1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marR="0" lvl="2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marR="0" lvl="3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marR="0" lvl="4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marR="0" lvl="5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marR="0" lvl="6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marR="0" lvl="7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marR="0" lvl="8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r>
              <a:rPr lang="en-US" sz="4000"/>
              <a:t>Bài 3: Decomposition</a:t>
            </a: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E4430F33-0610-4A1E-A18B-0F56DD2142E6}"/>
              </a:ext>
            </a:extLst>
          </p:cNvPr>
          <p:cNvSpPr/>
          <p:nvPr/>
        </p:nvSpPr>
        <p:spPr>
          <a:xfrm rot="5400000">
            <a:off x="-345132" y="1024277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Island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C982297A-7418-4994-AF05-790144F7F36B}"/>
              </a:ext>
            </a:extLst>
          </p:cNvPr>
          <p:cNvSpPr>
            <a:spLocks noChangeAspect="1"/>
          </p:cNvSpPr>
          <p:nvPr>
            <p:custDataLst>
              <p:tags r:id="rId4"/>
            </p:custDataLst>
          </p:nvPr>
        </p:nvSpPr>
        <p:spPr bwMode="auto">
          <a:xfrm>
            <a:off x="2712720" y="4529096"/>
            <a:ext cx="3992880" cy="2328904"/>
          </a:xfrm>
          <a:custGeom>
            <a:avLst/>
            <a:gdLst>
              <a:gd name="T0" fmla="*/ 1216 w 1252"/>
              <a:gd name="T1" fmla="*/ 217 h 717"/>
              <a:gd name="T2" fmla="*/ 1138 w 1252"/>
              <a:gd name="T3" fmla="*/ 159 h 717"/>
              <a:gd name="T4" fmla="*/ 1157 w 1252"/>
              <a:gd name="T5" fmla="*/ 143 h 717"/>
              <a:gd name="T6" fmla="*/ 1180 w 1252"/>
              <a:gd name="T7" fmla="*/ 131 h 717"/>
              <a:gd name="T8" fmla="*/ 1177 w 1252"/>
              <a:gd name="T9" fmla="*/ 107 h 717"/>
              <a:gd name="T10" fmla="*/ 1120 w 1252"/>
              <a:gd name="T11" fmla="*/ 100 h 717"/>
              <a:gd name="T12" fmla="*/ 1075 w 1252"/>
              <a:gd name="T13" fmla="*/ 107 h 717"/>
              <a:gd name="T14" fmla="*/ 982 w 1252"/>
              <a:gd name="T15" fmla="*/ 16 h 717"/>
              <a:gd name="T16" fmla="*/ 907 w 1252"/>
              <a:gd name="T17" fmla="*/ 8 h 717"/>
              <a:gd name="T18" fmla="*/ 914 w 1252"/>
              <a:gd name="T19" fmla="*/ 25 h 717"/>
              <a:gd name="T20" fmla="*/ 991 w 1252"/>
              <a:gd name="T21" fmla="*/ 91 h 717"/>
              <a:gd name="T22" fmla="*/ 908 w 1252"/>
              <a:gd name="T23" fmla="*/ 78 h 717"/>
              <a:gd name="T24" fmla="*/ 737 w 1252"/>
              <a:gd name="T25" fmla="*/ 125 h 717"/>
              <a:gd name="T26" fmla="*/ 748 w 1252"/>
              <a:gd name="T27" fmla="*/ 147 h 717"/>
              <a:gd name="T28" fmla="*/ 825 w 1252"/>
              <a:gd name="T29" fmla="*/ 131 h 717"/>
              <a:gd name="T30" fmla="*/ 933 w 1252"/>
              <a:gd name="T31" fmla="*/ 149 h 717"/>
              <a:gd name="T32" fmla="*/ 882 w 1252"/>
              <a:gd name="T33" fmla="*/ 179 h 717"/>
              <a:gd name="T34" fmla="*/ 851 w 1252"/>
              <a:gd name="T35" fmla="*/ 224 h 717"/>
              <a:gd name="T36" fmla="*/ 869 w 1252"/>
              <a:gd name="T37" fmla="*/ 228 h 717"/>
              <a:gd name="T38" fmla="*/ 936 w 1252"/>
              <a:gd name="T39" fmla="*/ 214 h 717"/>
              <a:gd name="T40" fmla="*/ 945 w 1252"/>
              <a:gd name="T41" fmla="*/ 221 h 717"/>
              <a:gd name="T42" fmla="*/ 796 w 1252"/>
              <a:gd name="T43" fmla="*/ 448 h 717"/>
              <a:gd name="T44" fmla="*/ 609 w 1252"/>
              <a:gd name="T45" fmla="*/ 465 h 717"/>
              <a:gd name="T46" fmla="*/ 642 w 1252"/>
              <a:gd name="T47" fmla="*/ 366 h 717"/>
              <a:gd name="T48" fmla="*/ 469 w 1252"/>
              <a:gd name="T49" fmla="*/ 157 h 717"/>
              <a:gd name="T50" fmla="*/ 236 w 1252"/>
              <a:gd name="T51" fmla="*/ 341 h 717"/>
              <a:gd name="T52" fmla="*/ 279 w 1252"/>
              <a:gd name="T53" fmla="*/ 366 h 717"/>
              <a:gd name="T54" fmla="*/ 0 w 1252"/>
              <a:gd name="T55" fmla="*/ 685 h 717"/>
              <a:gd name="T56" fmla="*/ 160 w 1252"/>
              <a:gd name="T57" fmla="*/ 697 h 717"/>
              <a:gd name="T58" fmla="*/ 347 w 1252"/>
              <a:gd name="T59" fmla="*/ 697 h 717"/>
              <a:gd name="T60" fmla="*/ 540 w 1252"/>
              <a:gd name="T61" fmla="*/ 697 h 717"/>
              <a:gd name="T62" fmla="*/ 727 w 1252"/>
              <a:gd name="T63" fmla="*/ 697 h 717"/>
              <a:gd name="T64" fmla="*/ 919 w 1252"/>
              <a:gd name="T65" fmla="*/ 697 h 717"/>
              <a:gd name="T66" fmla="*/ 1106 w 1252"/>
              <a:gd name="T67" fmla="*/ 697 h 717"/>
              <a:gd name="T68" fmla="*/ 1241 w 1252"/>
              <a:gd name="T69" fmla="*/ 679 h 717"/>
              <a:gd name="T70" fmla="*/ 873 w 1252"/>
              <a:gd name="T71" fmla="*/ 466 h 717"/>
              <a:gd name="T72" fmla="*/ 974 w 1252"/>
              <a:gd name="T73" fmla="*/ 253 h 717"/>
              <a:gd name="T74" fmla="*/ 1017 w 1252"/>
              <a:gd name="T75" fmla="*/ 230 h 717"/>
              <a:gd name="T76" fmla="*/ 1028 w 1252"/>
              <a:gd name="T77" fmla="*/ 233 h 717"/>
              <a:gd name="T78" fmla="*/ 1048 w 1252"/>
              <a:gd name="T79" fmla="*/ 303 h 717"/>
              <a:gd name="T80" fmla="*/ 1047 w 1252"/>
              <a:gd name="T81" fmla="*/ 343 h 717"/>
              <a:gd name="T82" fmla="*/ 1069 w 1252"/>
              <a:gd name="T83" fmla="*/ 352 h 717"/>
              <a:gd name="T84" fmla="*/ 1101 w 1252"/>
              <a:gd name="T85" fmla="*/ 262 h 717"/>
              <a:gd name="T86" fmla="*/ 1143 w 1252"/>
              <a:gd name="T87" fmla="*/ 231 h 717"/>
              <a:gd name="T88" fmla="*/ 1227 w 1252"/>
              <a:gd name="T89" fmla="*/ 280 h 717"/>
              <a:gd name="T90" fmla="*/ 1243 w 1252"/>
              <a:gd name="T91" fmla="*/ 284 h 7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252" h="717">
                <a:moveTo>
                  <a:pt x="1249" y="268"/>
                </a:moveTo>
                <a:cubicBezTo>
                  <a:pt x="1240" y="248"/>
                  <a:pt x="1229" y="232"/>
                  <a:pt x="1216" y="217"/>
                </a:cubicBezTo>
                <a:cubicBezTo>
                  <a:pt x="1202" y="202"/>
                  <a:pt x="1187" y="188"/>
                  <a:pt x="1169" y="176"/>
                </a:cubicBezTo>
                <a:cubicBezTo>
                  <a:pt x="1159" y="170"/>
                  <a:pt x="1149" y="164"/>
                  <a:pt x="1138" y="159"/>
                </a:cubicBezTo>
                <a:cubicBezTo>
                  <a:pt x="1138" y="158"/>
                  <a:pt x="1139" y="158"/>
                  <a:pt x="1139" y="157"/>
                </a:cubicBezTo>
                <a:cubicBezTo>
                  <a:pt x="1145" y="153"/>
                  <a:pt x="1151" y="148"/>
                  <a:pt x="1157" y="143"/>
                </a:cubicBezTo>
                <a:cubicBezTo>
                  <a:pt x="1164" y="139"/>
                  <a:pt x="1171" y="135"/>
                  <a:pt x="1178" y="131"/>
                </a:cubicBezTo>
                <a:lnTo>
                  <a:pt x="1180" y="131"/>
                </a:lnTo>
                <a:cubicBezTo>
                  <a:pt x="1183" y="129"/>
                  <a:pt x="1185" y="126"/>
                  <a:pt x="1186" y="122"/>
                </a:cubicBezTo>
                <a:cubicBezTo>
                  <a:pt x="1188" y="115"/>
                  <a:pt x="1184" y="108"/>
                  <a:pt x="1177" y="107"/>
                </a:cubicBezTo>
                <a:cubicBezTo>
                  <a:pt x="1167" y="104"/>
                  <a:pt x="1158" y="103"/>
                  <a:pt x="1149" y="101"/>
                </a:cubicBezTo>
                <a:cubicBezTo>
                  <a:pt x="1140" y="100"/>
                  <a:pt x="1130" y="100"/>
                  <a:pt x="1120" y="100"/>
                </a:cubicBezTo>
                <a:cubicBezTo>
                  <a:pt x="1110" y="100"/>
                  <a:pt x="1100" y="101"/>
                  <a:pt x="1089" y="103"/>
                </a:cubicBezTo>
                <a:cubicBezTo>
                  <a:pt x="1085" y="104"/>
                  <a:pt x="1080" y="105"/>
                  <a:pt x="1075" y="107"/>
                </a:cubicBezTo>
                <a:cubicBezTo>
                  <a:pt x="1066" y="88"/>
                  <a:pt x="1054" y="69"/>
                  <a:pt x="1039" y="54"/>
                </a:cubicBezTo>
                <a:cubicBezTo>
                  <a:pt x="1023" y="37"/>
                  <a:pt x="1002" y="24"/>
                  <a:pt x="982" y="16"/>
                </a:cubicBezTo>
                <a:cubicBezTo>
                  <a:pt x="961" y="7"/>
                  <a:pt x="941" y="3"/>
                  <a:pt x="921" y="1"/>
                </a:cubicBezTo>
                <a:cubicBezTo>
                  <a:pt x="915" y="0"/>
                  <a:pt x="910" y="3"/>
                  <a:pt x="907" y="8"/>
                </a:cubicBezTo>
                <a:cubicBezTo>
                  <a:pt x="905" y="14"/>
                  <a:pt x="907" y="22"/>
                  <a:pt x="914" y="25"/>
                </a:cubicBezTo>
                <a:lnTo>
                  <a:pt x="914" y="25"/>
                </a:lnTo>
                <a:cubicBezTo>
                  <a:pt x="931" y="33"/>
                  <a:pt x="947" y="42"/>
                  <a:pt x="961" y="53"/>
                </a:cubicBezTo>
                <a:cubicBezTo>
                  <a:pt x="974" y="64"/>
                  <a:pt x="984" y="77"/>
                  <a:pt x="991" y="91"/>
                </a:cubicBezTo>
                <a:cubicBezTo>
                  <a:pt x="991" y="91"/>
                  <a:pt x="991" y="92"/>
                  <a:pt x="992" y="92"/>
                </a:cubicBezTo>
                <a:cubicBezTo>
                  <a:pt x="964" y="83"/>
                  <a:pt x="936" y="79"/>
                  <a:pt x="908" y="78"/>
                </a:cubicBezTo>
                <a:cubicBezTo>
                  <a:pt x="877" y="77"/>
                  <a:pt x="847" y="81"/>
                  <a:pt x="818" y="89"/>
                </a:cubicBezTo>
                <a:cubicBezTo>
                  <a:pt x="789" y="97"/>
                  <a:pt x="761" y="108"/>
                  <a:pt x="737" y="125"/>
                </a:cubicBezTo>
                <a:cubicBezTo>
                  <a:pt x="732" y="128"/>
                  <a:pt x="730" y="134"/>
                  <a:pt x="732" y="140"/>
                </a:cubicBezTo>
                <a:cubicBezTo>
                  <a:pt x="734" y="146"/>
                  <a:pt x="742" y="149"/>
                  <a:pt x="748" y="147"/>
                </a:cubicBezTo>
                <a:lnTo>
                  <a:pt x="748" y="147"/>
                </a:lnTo>
                <a:cubicBezTo>
                  <a:pt x="773" y="137"/>
                  <a:pt x="799" y="133"/>
                  <a:pt x="825" y="131"/>
                </a:cubicBezTo>
                <a:cubicBezTo>
                  <a:pt x="851" y="130"/>
                  <a:pt x="877" y="133"/>
                  <a:pt x="901" y="138"/>
                </a:cubicBezTo>
                <a:cubicBezTo>
                  <a:pt x="912" y="141"/>
                  <a:pt x="923" y="145"/>
                  <a:pt x="933" y="149"/>
                </a:cubicBezTo>
                <a:cubicBezTo>
                  <a:pt x="929" y="151"/>
                  <a:pt x="924" y="153"/>
                  <a:pt x="919" y="156"/>
                </a:cubicBezTo>
                <a:cubicBezTo>
                  <a:pt x="906" y="162"/>
                  <a:pt x="894" y="170"/>
                  <a:pt x="882" y="179"/>
                </a:cubicBezTo>
                <a:cubicBezTo>
                  <a:pt x="871" y="188"/>
                  <a:pt x="860" y="198"/>
                  <a:pt x="851" y="211"/>
                </a:cubicBezTo>
                <a:cubicBezTo>
                  <a:pt x="849" y="215"/>
                  <a:pt x="848" y="220"/>
                  <a:pt x="851" y="224"/>
                </a:cubicBezTo>
                <a:cubicBezTo>
                  <a:pt x="854" y="230"/>
                  <a:pt x="862" y="233"/>
                  <a:pt x="868" y="229"/>
                </a:cubicBezTo>
                <a:lnTo>
                  <a:pt x="869" y="228"/>
                </a:lnTo>
                <a:cubicBezTo>
                  <a:pt x="878" y="223"/>
                  <a:pt x="890" y="220"/>
                  <a:pt x="901" y="218"/>
                </a:cubicBezTo>
                <a:cubicBezTo>
                  <a:pt x="912" y="215"/>
                  <a:pt x="924" y="214"/>
                  <a:pt x="936" y="214"/>
                </a:cubicBezTo>
                <a:cubicBezTo>
                  <a:pt x="942" y="214"/>
                  <a:pt x="948" y="214"/>
                  <a:pt x="954" y="214"/>
                </a:cubicBezTo>
                <a:cubicBezTo>
                  <a:pt x="951" y="217"/>
                  <a:pt x="948" y="219"/>
                  <a:pt x="945" y="221"/>
                </a:cubicBezTo>
                <a:cubicBezTo>
                  <a:pt x="909" y="250"/>
                  <a:pt x="879" y="284"/>
                  <a:pt x="854" y="323"/>
                </a:cubicBezTo>
                <a:cubicBezTo>
                  <a:pt x="828" y="361"/>
                  <a:pt x="809" y="404"/>
                  <a:pt x="796" y="448"/>
                </a:cubicBezTo>
                <a:cubicBezTo>
                  <a:pt x="793" y="459"/>
                  <a:pt x="790" y="469"/>
                  <a:pt x="788" y="480"/>
                </a:cubicBezTo>
                <a:cubicBezTo>
                  <a:pt x="729" y="470"/>
                  <a:pt x="669" y="465"/>
                  <a:pt x="609" y="465"/>
                </a:cubicBezTo>
                <a:lnTo>
                  <a:pt x="609" y="366"/>
                </a:lnTo>
                <a:lnTo>
                  <a:pt x="642" y="366"/>
                </a:lnTo>
                <a:cubicBezTo>
                  <a:pt x="661" y="366"/>
                  <a:pt x="666" y="354"/>
                  <a:pt x="652" y="341"/>
                </a:cubicBezTo>
                <a:lnTo>
                  <a:pt x="469" y="157"/>
                </a:lnTo>
                <a:cubicBezTo>
                  <a:pt x="455" y="143"/>
                  <a:pt x="433" y="143"/>
                  <a:pt x="419" y="157"/>
                </a:cubicBezTo>
                <a:lnTo>
                  <a:pt x="236" y="341"/>
                </a:lnTo>
                <a:cubicBezTo>
                  <a:pt x="222" y="354"/>
                  <a:pt x="227" y="366"/>
                  <a:pt x="246" y="366"/>
                </a:cubicBezTo>
                <a:lnTo>
                  <a:pt x="279" y="366"/>
                </a:lnTo>
                <a:lnTo>
                  <a:pt x="279" y="517"/>
                </a:lnTo>
                <a:cubicBezTo>
                  <a:pt x="171" y="554"/>
                  <a:pt x="75" y="610"/>
                  <a:pt x="0" y="685"/>
                </a:cubicBezTo>
                <a:cubicBezTo>
                  <a:pt x="20" y="679"/>
                  <a:pt x="42" y="675"/>
                  <a:pt x="64" y="675"/>
                </a:cubicBezTo>
                <a:cubicBezTo>
                  <a:pt x="98" y="675"/>
                  <a:pt x="131" y="683"/>
                  <a:pt x="160" y="697"/>
                </a:cubicBezTo>
                <a:cubicBezTo>
                  <a:pt x="188" y="710"/>
                  <a:pt x="220" y="717"/>
                  <a:pt x="253" y="717"/>
                </a:cubicBezTo>
                <a:cubicBezTo>
                  <a:pt x="287" y="717"/>
                  <a:pt x="319" y="710"/>
                  <a:pt x="347" y="697"/>
                </a:cubicBezTo>
                <a:cubicBezTo>
                  <a:pt x="376" y="683"/>
                  <a:pt x="409" y="675"/>
                  <a:pt x="443" y="675"/>
                </a:cubicBezTo>
                <a:cubicBezTo>
                  <a:pt x="477" y="675"/>
                  <a:pt x="510" y="683"/>
                  <a:pt x="540" y="697"/>
                </a:cubicBezTo>
                <a:cubicBezTo>
                  <a:pt x="568" y="710"/>
                  <a:pt x="600" y="717"/>
                  <a:pt x="633" y="717"/>
                </a:cubicBezTo>
                <a:cubicBezTo>
                  <a:pt x="666" y="717"/>
                  <a:pt x="698" y="710"/>
                  <a:pt x="727" y="697"/>
                </a:cubicBezTo>
                <a:cubicBezTo>
                  <a:pt x="756" y="683"/>
                  <a:pt x="789" y="675"/>
                  <a:pt x="823" y="675"/>
                </a:cubicBezTo>
                <a:cubicBezTo>
                  <a:pt x="857" y="675"/>
                  <a:pt x="890" y="683"/>
                  <a:pt x="919" y="697"/>
                </a:cubicBezTo>
                <a:cubicBezTo>
                  <a:pt x="947" y="710"/>
                  <a:pt x="979" y="717"/>
                  <a:pt x="1012" y="717"/>
                </a:cubicBezTo>
                <a:cubicBezTo>
                  <a:pt x="1046" y="717"/>
                  <a:pt x="1077" y="710"/>
                  <a:pt x="1106" y="697"/>
                </a:cubicBezTo>
                <a:cubicBezTo>
                  <a:pt x="1135" y="683"/>
                  <a:pt x="1168" y="675"/>
                  <a:pt x="1202" y="675"/>
                </a:cubicBezTo>
                <a:cubicBezTo>
                  <a:pt x="1215" y="675"/>
                  <a:pt x="1228" y="677"/>
                  <a:pt x="1241" y="679"/>
                </a:cubicBezTo>
                <a:cubicBezTo>
                  <a:pt x="1136" y="591"/>
                  <a:pt x="1007" y="530"/>
                  <a:pt x="869" y="497"/>
                </a:cubicBezTo>
                <a:cubicBezTo>
                  <a:pt x="870" y="486"/>
                  <a:pt x="871" y="476"/>
                  <a:pt x="873" y="466"/>
                </a:cubicBezTo>
                <a:cubicBezTo>
                  <a:pt x="878" y="427"/>
                  <a:pt x="889" y="388"/>
                  <a:pt x="906" y="352"/>
                </a:cubicBezTo>
                <a:cubicBezTo>
                  <a:pt x="923" y="316"/>
                  <a:pt x="946" y="282"/>
                  <a:pt x="974" y="253"/>
                </a:cubicBezTo>
                <a:cubicBezTo>
                  <a:pt x="982" y="244"/>
                  <a:pt x="991" y="236"/>
                  <a:pt x="1000" y="228"/>
                </a:cubicBezTo>
                <a:cubicBezTo>
                  <a:pt x="1006" y="229"/>
                  <a:pt x="1012" y="230"/>
                  <a:pt x="1017" y="230"/>
                </a:cubicBezTo>
                <a:cubicBezTo>
                  <a:pt x="1019" y="230"/>
                  <a:pt x="1021" y="230"/>
                  <a:pt x="1023" y="230"/>
                </a:cubicBezTo>
                <a:cubicBezTo>
                  <a:pt x="1025" y="231"/>
                  <a:pt x="1026" y="232"/>
                  <a:pt x="1028" y="233"/>
                </a:cubicBezTo>
                <a:cubicBezTo>
                  <a:pt x="1033" y="242"/>
                  <a:pt x="1037" y="253"/>
                  <a:pt x="1041" y="265"/>
                </a:cubicBezTo>
                <a:cubicBezTo>
                  <a:pt x="1044" y="277"/>
                  <a:pt x="1047" y="290"/>
                  <a:pt x="1048" y="303"/>
                </a:cubicBezTo>
                <a:cubicBezTo>
                  <a:pt x="1049" y="316"/>
                  <a:pt x="1049" y="329"/>
                  <a:pt x="1047" y="341"/>
                </a:cubicBezTo>
                <a:lnTo>
                  <a:pt x="1047" y="343"/>
                </a:lnTo>
                <a:cubicBezTo>
                  <a:pt x="1046" y="347"/>
                  <a:pt x="1048" y="352"/>
                  <a:pt x="1052" y="355"/>
                </a:cubicBezTo>
                <a:cubicBezTo>
                  <a:pt x="1057" y="359"/>
                  <a:pt x="1065" y="358"/>
                  <a:pt x="1069" y="352"/>
                </a:cubicBezTo>
                <a:cubicBezTo>
                  <a:pt x="1079" y="339"/>
                  <a:pt x="1085" y="324"/>
                  <a:pt x="1090" y="309"/>
                </a:cubicBezTo>
                <a:cubicBezTo>
                  <a:pt x="1095" y="294"/>
                  <a:pt x="1099" y="278"/>
                  <a:pt x="1101" y="262"/>
                </a:cubicBezTo>
                <a:cubicBezTo>
                  <a:pt x="1103" y="250"/>
                  <a:pt x="1104" y="238"/>
                  <a:pt x="1104" y="226"/>
                </a:cubicBezTo>
                <a:cubicBezTo>
                  <a:pt x="1117" y="226"/>
                  <a:pt x="1130" y="228"/>
                  <a:pt x="1143" y="231"/>
                </a:cubicBezTo>
                <a:cubicBezTo>
                  <a:pt x="1159" y="235"/>
                  <a:pt x="1174" y="241"/>
                  <a:pt x="1188" y="250"/>
                </a:cubicBezTo>
                <a:cubicBezTo>
                  <a:pt x="1202" y="258"/>
                  <a:pt x="1217" y="269"/>
                  <a:pt x="1227" y="280"/>
                </a:cubicBezTo>
                <a:lnTo>
                  <a:pt x="1228" y="281"/>
                </a:lnTo>
                <a:cubicBezTo>
                  <a:pt x="1232" y="285"/>
                  <a:pt x="1238" y="286"/>
                  <a:pt x="1243" y="284"/>
                </a:cubicBezTo>
                <a:cubicBezTo>
                  <a:pt x="1249" y="281"/>
                  <a:pt x="1252" y="274"/>
                  <a:pt x="1249" y="268"/>
                </a:cubicBezTo>
                <a:close/>
              </a:path>
            </a:pathLst>
          </a:custGeom>
          <a:solidFill>
            <a:schemeClr val="accent1"/>
          </a:solidFill>
          <a:ln w="3810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Island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EAC6CBBE-765C-4E24-B0AC-018C3D585E8A}"/>
              </a:ext>
            </a:extLst>
          </p:cNvPr>
          <p:cNvSpPr>
            <a:spLocks noChangeAspect="1"/>
          </p:cNvSpPr>
          <p:nvPr>
            <p:custDataLst>
              <p:tags r:id="rId5"/>
            </p:custDataLst>
          </p:nvPr>
        </p:nvSpPr>
        <p:spPr bwMode="auto">
          <a:xfrm>
            <a:off x="7197256" y="4699303"/>
            <a:ext cx="4563309" cy="2661615"/>
          </a:xfrm>
          <a:custGeom>
            <a:avLst/>
            <a:gdLst>
              <a:gd name="T0" fmla="*/ 1216 w 1252"/>
              <a:gd name="T1" fmla="*/ 217 h 717"/>
              <a:gd name="T2" fmla="*/ 1138 w 1252"/>
              <a:gd name="T3" fmla="*/ 159 h 717"/>
              <a:gd name="T4" fmla="*/ 1157 w 1252"/>
              <a:gd name="T5" fmla="*/ 143 h 717"/>
              <a:gd name="T6" fmla="*/ 1180 w 1252"/>
              <a:gd name="T7" fmla="*/ 131 h 717"/>
              <a:gd name="T8" fmla="*/ 1177 w 1252"/>
              <a:gd name="T9" fmla="*/ 107 h 717"/>
              <a:gd name="T10" fmla="*/ 1120 w 1252"/>
              <a:gd name="T11" fmla="*/ 100 h 717"/>
              <a:gd name="T12" fmla="*/ 1075 w 1252"/>
              <a:gd name="T13" fmla="*/ 107 h 717"/>
              <a:gd name="T14" fmla="*/ 982 w 1252"/>
              <a:gd name="T15" fmla="*/ 16 h 717"/>
              <a:gd name="T16" fmla="*/ 907 w 1252"/>
              <a:gd name="T17" fmla="*/ 8 h 717"/>
              <a:gd name="T18" fmla="*/ 914 w 1252"/>
              <a:gd name="T19" fmla="*/ 25 h 717"/>
              <a:gd name="T20" fmla="*/ 991 w 1252"/>
              <a:gd name="T21" fmla="*/ 91 h 717"/>
              <a:gd name="T22" fmla="*/ 908 w 1252"/>
              <a:gd name="T23" fmla="*/ 78 h 717"/>
              <a:gd name="T24" fmla="*/ 737 w 1252"/>
              <a:gd name="T25" fmla="*/ 125 h 717"/>
              <a:gd name="T26" fmla="*/ 748 w 1252"/>
              <a:gd name="T27" fmla="*/ 147 h 717"/>
              <a:gd name="T28" fmla="*/ 825 w 1252"/>
              <a:gd name="T29" fmla="*/ 131 h 717"/>
              <a:gd name="T30" fmla="*/ 933 w 1252"/>
              <a:gd name="T31" fmla="*/ 149 h 717"/>
              <a:gd name="T32" fmla="*/ 882 w 1252"/>
              <a:gd name="T33" fmla="*/ 179 h 717"/>
              <a:gd name="T34" fmla="*/ 851 w 1252"/>
              <a:gd name="T35" fmla="*/ 224 h 717"/>
              <a:gd name="T36" fmla="*/ 869 w 1252"/>
              <a:gd name="T37" fmla="*/ 228 h 717"/>
              <a:gd name="T38" fmla="*/ 936 w 1252"/>
              <a:gd name="T39" fmla="*/ 214 h 717"/>
              <a:gd name="T40" fmla="*/ 945 w 1252"/>
              <a:gd name="T41" fmla="*/ 221 h 717"/>
              <a:gd name="T42" fmla="*/ 796 w 1252"/>
              <a:gd name="T43" fmla="*/ 448 h 717"/>
              <a:gd name="T44" fmla="*/ 609 w 1252"/>
              <a:gd name="T45" fmla="*/ 465 h 717"/>
              <a:gd name="T46" fmla="*/ 642 w 1252"/>
              <a:gd name="T47" fmla="*/ 366 h 717"/>
              <a:gd name="T48" fmla="*/ 469 w 1252"/>
              <a:gd name="T49" fmla="*/ 157 h 717"/>
              <a:gd name="T50" fmla="*/ 236 w 1252"/>
              <a:gd name="T51" fmla="*/ 341 h 717"/>
              <a:gd name="T52" fmla="*/ 279 w 1252"/>
              <a:gd name="T53" fmla="*/ 366 h 717"/>
              <a:gd name="T54" fmla="*/ 0 w 1252"/>
              <a:gd name="T55" fmla="*/ 685 h 717"/>
              <a:gd name="T56" fmla="*/ 160 w 1252"/>
              <a:gd name="T57" fmla="*/ 697 h 717"/>
              <a:gd name="T58" fmla="*/ 347 w 1252"/>
              <a:gd name="T59" fmla="*/ 697 h 717"/>
              <a:gd name="T60" fmla="*/ 540 w 1252"/>
              <a:gd name="T61" fmla="*/ 697 h 717"/>
              <a:gd name="T62" fmla="*/ 727 w 1252"/>
              <a:gd name="T63" fmla="*/ 697 h 717"/>
              <a:gd name="T64" fmla="*/ 919 w 1252"/>
              <a:gd name="T65" fmla="*/ 697 h 717"/>
              <a:gd name="T66" fmla="*/ 1106 w 1252"/>
              <a:gd name="T67" fmla="*/ 697 h 717"/>
              <a:gd name="T68" fmla="*/ 1241 w 1252"/>
              <a:gd name="T69" fmla="*/ 679 h 717"/>
              <a:gd name="T70" fmla="*/ 873 w 1252"/>
              <a:gd name="T71" fmla="*/ 466 h 717"/>
              <a:gd name="T72" fmla="*/ 974 w 1252"/>
              <a:gd name="T73" fmla="*/ 253 h 717"/>
              <a:gd name="T74" fmla="*/ 1017 w 1252"/>
              <a:gd name="T75" fmla="*/ 230 h 717"/>
              <a:gd name="T76" fmla="*/ 1028 w 1252"/>
              <a:gd name="T77" fmla="*/ 233 h 717"/>
              <a:gd name="T78" fmla="*/ 1048 w 1252"/>
              <a:gd name="T79" fmla="*/ 303 h 717"/>
              <a:gd name="T80" fmla="*/ 1047 w 1252"/>
              <a:gd name="T81" fmla="*/ 343 h 717"/>
              <a:gd name="T82" fmla="*/ 1069 w 1252"/>
              <a:gd name="T83" fmla="*/ 352 h 717"/>
              <a:gd name="T84" fmla="*/ 1101 w 1252"/>
              <a:gd name="T85" fmla="*/ 262 h 717"/>
              <a:gd name="T86" fmla="*/ 1143 w 1252"/>
              <a:gd name="T87" fmla="*/ 231 h 717"/>
              <a:gd name="T88" fmla="*/ 1227 w 1252"/>
              <a:gd name="T89" fmla="*/ 280 h 717"/>
              <a:gd name="T90" fmla="*/ 1243 w 1252"/>
              <a:gd name="T91" fmla="*/ 284 h 7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252" h="717">
                <a:moveTo>
                  <a:pt x="1249" y="268"/>
                </a:moveTo>
                <a:cubicBezTo>
                  <a:pt x="1240" y="248"/>
                  <a:pt x="1229" y="232"/>
                  <a:pt x="1216" y="217"/>
                </a:cubicBezTo>
                <a:cubicBezTo>
                  <a:pt x="1202" y="202"/>
                  <a:pt x="1187" y="188"/>
                  <a:pt x="1169" y="176"/>
                </a:cubicBezTo>
                <a:cubicBezTo>
                  <a:pt x="1159" y="170"/>
                  <a:pt x="1149" y="164"/>
                  <a:pt x="1138" y="159"/>
                </a:cubicBezTo>
                <a:cubicBezTo>
                  <a:pt x="1138" y="158"/>
                  <a:pt x="1139" y="158"/>
                  <a:pt x="1139" y="157"/>
                </a:cubicBezTo>
                <a:cubicBezTo>
                  <a:pt x="1145" y="153"/>
                  <a:pt x="1151" y="148"/>
                  <a:pt x="1157" y="143"/>
                </a:cubicBezTo>
                <a:cubicBezTo>
                  <a:pt x="1164" y="139"/>
                  <a:pt x="1171" y="135"/>
                  <a:pt x="1178" y="131"/>
                </a:cubicBezTo>
                <a:lnTo>
                  <a:pt x="1180" y="131"/>
                </a:lnTo>
                <a:cubicBezTo>
                  <a:pt x="1183" y="129"/>
                  <a:pt x="1185" y="126"/>
                  <a:pt x="1186" y="122"/>
                </a:cubicBezTo>
                <a:cubicBezTo>
                  <a:pt x="1188" y="115"/>
                  <a:pt x="1184" y="108"/>
                  <a:pt x="1177" y="107"/>
                </a:cubicBezTo>
                <a:cubicBezTo>
                  <a:pt x="1167" y="104"/>
                  <a:pt x="1158" y="103"/>
                  <a:pt x="1149" y="101"/>
                </a:cubicBezTo>
                <a:cubicBezTo>
                  <a:pt x="1140" y="100"/>
                  <a:pt x="1130" y="100"/>
                  <a:pt x="1120" y="100"/>
                </a:cubicBezTo>
                <a:cubicBezTo>
                  <a:pt x="1110" y="100"/>
                  <a:pt x="1100" y="101"/>
                  <a:pt x="1089" y="103"/>
                </a:cubicBezTo>
                <a:cubicBezTo>
                  <a:pt x="1085" y="104"/>
                  <a:pt x="1080" y="105"/>
                  <a:pt x="1075" y="107"/>
                </a:cubicBezTo>
                <a:cubicBezTo>
                  <a:pt x="1066" y="88"/>
                  <a:pt x="1054" y="69"/>
                  <a:pt x="1039" y="54"/>
                </a:cubicBezTo>
                <a:cubicBezTo>
                  <a:pt x="1023" y="37"/>
                  <a:pt x="1002" y="24"/>
                  <a:pt x="982" y="16"/>
                </a:cubicBezTo>
                <a:cubicBezTo>
                  <a:pt x="961" y="7"/>
                  <a:pt x="941" y="3"/>
                  <a:pt x="921" y="1"/>
                </a:cubicBezTo>
                <a:cubicBezTo>
                  <a:pt x="915" y="0"/>
                  <a:pt x="910" y="3"/>
                  <a:pt x="907" y="8"/>
                </a:cubicBezTo>
                <a:cubicBezTo>
                  <a:pt x="905" y="14"/>
                  <a:pt x="907" y="22"/>
                  <a:pt x="914" y="25"/>
                </a:cubicBezTo>
                <a:lnTo>
                  <a:pt x="914" y="25"/>
                </a:lnTo>
                <a:cubicBezTo>
                  <a:pt x="931" y="33"/>
                  <a:pt x="947" y="42"/>
                  <a:pt x="961" y="53"/>
                </a:cubicBezTo>
                <a:cubicBezTo>
                  <a:pt x="974" y="64"/>
                  <a:pt x="984" y="77"/>
                  <a:pt x="991" y="91"/>
                </a:cubicBezTo>
                <a:cubicBezTo>
                  <a:pt x="991" y="91"/>
                  <a:pt x="991" y="92"/>
                  <a:pt x="992" y="92"/>
                </a:cubicBezTo>
                <a:cubicBezTo>
                  <a:pt x="964" y="83"/>
                  <a:pt x="936" y="79"/>
                  <a:pt x="908" y="78"/>
                </a:cubicBezTo>
                <a:cubicBezTo>
                  <a:pt x="877" y="77"/>
                  <a:pt x="847" y="81"/>
                  <a:pt x="818" y="89"/>
                </a:cubicBezTo>
                <a:cubicBezTo>
                  <a:pt x="789" y="97"/>
                  <a:pt x="761" y="108"/>
                  <a:pt x="737" y="125"/>
                </a:cubicBezTo>
                <a:cubicBezTo>
                  <a:pt x="732" y="128"/>
                  <a:pt x="730" y="134"/>
                  <a:pt x="732" y="140"/>
                </a:cubicBezTo>
                <a:cubicBezTo>
                  <a:pt x="734" y="146"/>
                  <a:pt x="742" y="149"/>
                  <a:pt x="748" y="147"/>
                </a:cubicBezTo>
                <a:lnTo>
                  <a:pt x="748" y="147"/>
                </a:lnTo>
                <a:cubicBezTo>
                  <a:pt x="773" y="137"/>
                  <a:pt x="799" y="133"/>
                  <a:pt x="825" y="131"/>
                </a:cubicBezTo>
                <a:cubicBezTo>
                  <a:pt x="851" y="130"/>
                  <a:pt x="877" y="133"/>
                  <a:pt x="901" y="138"/>
                </a:cubicBezTo>
                <a:cubicBezTo>
                  <a:pt x="912" y="141"/>
                  <a:pt x="923" y="145"/>
                  <a:pt x="933" y="149"/>
                </a:cubicBezTo>
                <a:cubicBezTo>
                  <a:pt x="929" y="151"/>
                  <a:pt x="924" y="153"/>
                  <a:pt x="919" y="156"/>
                </a:cubicBezTo>
                <a:cubicBezTo>
                  <a:pt x="906" y="162"/>
                  <a:pt x="894" y="170"/>
                  <a:pt x="882" y="179"/>
                </a:cubicBezTo>
                <a:cubicBezTo>
                  <a:pt x="871" y="188"/>
                  <a:pt x="860" y="198"/>
                  <a:pt x="851" y="211"/>
                </a:cubicBezTo>
                <a:cubicBezTo>
                  <a:pt x="849" y="215"/>
                  <a:pt x="848" y="220"/>
                  <a:pt x="851" y="224"/>
                </a:cubicBezTo>
                <a:cubicBezTo>
                  <a:pt x="854" y="230"/>
                  <a:pt x="862" y="233"/>
                  <a:pt x="868" y="229"/>
                </a:cubicBezTo>
                <a:lnTo>
                  <a:pt x="869" y="228"/>
                </a:lnTo>
                <a:cubicBezTo>
                  <a:pt x="878" y="223"/>
                  <a:pt x="890" y="220"/>
                  <a:pt x="901" y="218"/>
                </a:cubicBezTo>
                <a:cubicBezTo>
                  <a:pt x="912" y="215"/>
                  <a:pt x="924" y="214"/>
                  <a:pt x="936" y="214"/>
                </a:cubicBezTo>
                <a:cubicBezTo>
                  <a:pt x="942" y="214"/>
                  <a:pt x="948" y="214"/>
                  <a:pt x="954" y="214"/>
                </a:cubicBezTo>
                <a:cubicBezTo>
                  <a:pt x="951" y="217"/>
                  <a:pt x="948" y="219"/>
                  <a:pt x="945" y="221"/>
                </a:cubicBezTo>
                <a:cubicBezTo>
                  <a:pt x="909" y="250"/>
                  <a:pt x="879" y="284"/>
                  <a:pt x="854" y="323"/>
                </a:cubicBezTo>
                <a:cubicBezTo>
                  <a:pt x="828" y="361"/>
                  <a:pt x="809" y="404"/>
                  <a:pt x="796" y="448"/>
                </a:cubicBezTo>
                <a:cubicBezTo>
                  <a:pt x="793" y="459"/>
                  <a:pt x="790" y="469"/>
                  <a:pt x="788" y="480"/>
                </a:cubicBezTo>
                <a:cubicBezTo>
                  <a:pt x="729" y="470"/>
                  <a:pt x="669" y="465"/>
                  <a:pt x="609" y="465"/>
                </a:cubicBezTo>
                <a:lnTo>
                  <a:pt x="609" y="366"/>
                </a:lnTo>
                <a:lnTo>
                  <a:pt x="642" y="366"/>
                </a:lnTo>
                <a:cubicBezTo>
                  <a:pt x="661" y="366"/>
                  <a:pt x="666" y="354"/>
                  <a:pt x="652" y="341"/>
                </a:cubicBezTo>
                <a:lnTo>
                  <a:pt x="469" y="157"/>
                </a:lnTo>
                <a:cubicBezTo>
                  <a:pt x="455" y="143"/>
                  <a:pt x="433" y="143"/>
                  <a:pt x="419" y="157"/>
                </a:cubicBezTo>
                <a:lnTo>
                  <a:pt x="236" y="341"/>
                </a:lnTo>
                <a:cubicBezTo>
                  <a:pt x="222" y="354"/>
                  <a:pt x="227" y="366"/>
                  <a:pt x="246" y="366"/>
                </a:cubicBezTo>
                <a:lnTo>
                  <a:pt x="279" y="366"/>
                </a:lnTo>
                <a:lnTo>
                  <a:pt x="279" y="517"/>
                </a:lnTo>
                <a:cubicBezTo>
                  <a:pt x="171" y="554"/>
                  <a:pt x="75" y="610"/>
                  <a:pt x="0" y="685"/>
                </a:cubicBezTo>
                <a:cubicBezTo>
                  <a:pt x="20" y="679"/>
                  <a:pt x="42" y="675"/>
                  <a:pt x="64" y="675"/>
                </a:cubicBezTo>
                <a:cubicBezTo>
                  <a:pt x="98" y="675"/>
                  <a:pt x="131" y="683"/>
                  <a:pt x="160" y="697"/>
                </a:cubicBezTo>
                <a:cubicBezTo>
                  <a:pt x="188" y="710"/>
                  <a:pt x="220" y="717"/>
                  <a:pt x="253" y="717"/>
                </a:cubicBezTo>
                <a:cubicBezTo>
                  <a:pt x="287" y="717"/>
                  <a:pt x="319" y="710"/>
                  <a:pt x="347" y="697"/>
                </a:cubicBezTo>
                <a:cubicBezTo>
                  <a:pt x="376" y="683"/>
                  <a:pt x="409" y="675"/>
                  <a:pt x="443" y="675"/>
                </a:cubicBezTo>
                <a:cubicBezTo>
                  <a:pt x="477" y="675"/>
                  <a:pt x="510" y="683"/>
                  <a:pt x="540" y="697"/>
                </a:cubicBezTo>
                <a:cubicBezTo>
                  <a:pt x="568" y="710"/>
                  <a:pt x="600" y="717"/>
                  <a:pt x="633" y="717"/>
                </a:cubicBezTo>
                <a:cubicBezTo>
                  <a:pt x="666" y="717"/>
                  <a:pt x="698" y="710"/>
                  <a:pt x="727" y="697"/>
                </a:cubicBezTo>
                <a:cubicBezTo>
                  <a:pt x="756" y="683"/>
                  <a:pt x="789" y="675"/>
                  <a:pt x="823" y="675"/>
                </a:cubicBezTo>
                <a:cubicBezTo>
                  <a:pt x="857" y="675"/>
                  <a:pt x="890" y="683"/>
                  <a:pt x="919" y="697"/>
                </a:cubicBezTo>
                <a:cubicBezTo>
                  <a:pt x="947" y="710"/>
                  <a:pt x="979" y="717"/>
                  <a:pt x="1012" y="717"/>
                </a:cubicBezTo>
                <a:cubicBezTo>
                  <a:pt x="1046" y="717"/>
                  <a:pt x="1077" y="710"/>
                  <a:pt x="1106" y="697"/>
                </a:cubicBezTo>
                <a:cubicBezTo>
                  <a:pt x="1135" y="683"/>
                  <a:pt x="1168" y="675"/>
                  <a:pt x="1202" y="675"/>
                </a:cubicBezTo>
                <a:cubicBezTo>
                  <a:pt x="1215" y="675"/>
                  <a:pt x="1228" y="677"/>
                  <a:pt x="1241" y="679"/>
                </a:cubicBezTo>
                <a:cubicBezTo>
                  <a:pt x="1136" y="591"/>
                  <a:pt x="1007" y="530"/>
                  <a:pt x="869" y="497"/>
                </a:cubicBezTo>
                <a:cubicBezTo>
                  <a:pt x="870" y="486"/>
                  <a:pt x="871" y="476"/>
                  <a:pt x="873" y="466"/>
                </a:cubicBezTo>
                <a:cubicBezTo>
                  <a:pt x="878" y="427"/>
                  <a:pt x="889" y="388"/>
                  <a:pt x="906" y="352"/>
                </a:cubicBezTo>
                <a:cubicBezTo>
                  <a:pt x="923" y="316"/>
                  <a:pt x="946" y="282"/>
                  <a:pt x="974" y="253"/>
                </a:cubicBezTo>
                <a:cubicBezTo>
                  <a:pt x="982" y="244"/>
                  <a:pt x="991" y="236"/>
                  <a:pt x="1000" y="228"/>
                </a:cubicBezTo>
                <a:cubicBezTo>
                  <a:pt x="1006" y="229"/>
                  <a:pt x="1012" y="230"/>
                  <a:pt x="1017" y="230"/>
                </a:cubicBezTo>
                <a:cubicBezTo>
                  <a:pt x="1019" y="230"/>
                  <a:pt x="1021" y="230"/>
                  <a:pt x="1023" y="230"/>
                </a:cubicBezTo>
                <a:cubicBezTo>
                  <a:pt x="1025" y="231"/>
                  <a:pt x="1026" y="232"/>
                  <a:pt x="1028" y="233"/>
                </a:cubicBezTo>
                <a:cubicBezTo>
                  <a:pt x="1033" y="242"/>
                  <a:pt x="1037" y="253"/>
                  <a:pt x="1041" y="265"/>
                </a:cubicBezTo>
                <a:cubicBezTo>
                  <a:pt x="1044" y="277"/>
                  <a:pt x="1047" y="290"/>
                  <a:pt x="1048" y="303"/>
                </a:cubicBezTo>
                <a:cubicBezTo>
                  <a:pt x="1049" y="316"/>
                  <a:pt x="1049" y="329"/>
                  <a:pt x="1047" y="341"/>
                </a:cubicBezTo>
                <a:lnTo>
                  <a:pt x="1047" y="343"/>
                </a:lnTo>
                <a:cubicBezTo>
                  <a:pt x="1046" y="347"/>
                  <a:pt x="1048" y="352"/>
                  <a:pt x="1052" y="355"/>
                </a:cubicBezTo>
                <a:cubicBezTo>
                  <a:pt x="1057" y="359"/>
                  <a:pt x="1065" y="358"/>
                  <a:pt x="1069" y="352"/>
                </a:cubicBezTo>
                <a:cubicBezTo>
                  <a:pt x="1079" y="339"/>
                  <a:pt x="1085" y="324"/>
                  <a:pt x="1090" y="309"/>
                </a:cubicBezTo>
                <a:cubicBezTo>
                  <a:pt x="1095" y="294"/>
                  <a:pt x="1099" y="278"/>
                  <a:pt x="1101" y="262"/>
                </a:cubicBezTo>
                <a:cubicBezTo>
                  <a:pt x="1103" y="250"/>
                  <a:pt x="1104" y="238"/>
                  <a:pt x="1104" y="226"/>
                </a:cubicBezTo>
                <a:cubicBezTo>
                  <a:pt x="1117" y="226"/>
                  <a:pt x="1130" y="228"/>
                  <a:pt x="1143" y="231"/>
                </a:cubicBezTo>
                <a:cubicBezTo>
                  <a:pt x="1159" y="235"/>
                  <a:pt x="1174" y="241"/>
                  <a:pt x="1188" y="250"/>
                </a:cubicBezTo>
                <a:cubicBezTo>
                  <a:pt x="1202" y="258"/>
                  <a:pt x="1217" y="269"/>
                  <a:pt x="1227" y="280"/>
                </a:cubicBezTo>
                <a:lnTo>
                  <a:pt x="1228" y="281"/>
                </a:lnTo>
                <a:cubicBezTo>
                  <a:pt x="1232" y="285"/>
                  <a:pt x="1238" y="286"/>
                  <a:pt x="1243" y="284"/>
                </a:cubicBezTo>
                <a:cubicBezTo>
                  <a:pt x="1249" y="281"/>
                  <a:pt x="1252" y="274"/>
                  <a:pt x="1249" y="268"/>
                </a:cubicBezTo>
                <a:close/>
              </a:path>
            </a:pathLst>
          </a:custGeom>
          <a:solidFill>
            <a:schemeClr val="accent1"/>
          </a:solidFill>
          <a:ln w="3810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1093694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500"/>
                            </p:stCondLst>
                            <p:childTnLst>
                              <p:par>
                                <p:cTn id="17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000"/>
                            </p:stCondLst>
                            <p:childTnLst>
                              <p:par>
                                <p:cTn id="23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000"/>
                            </p:stCondLst>
                            <p:childTnLst>
                              <p:par>
                                <p:cTn id="29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000"/>
                            </p:stCondLst>
                            <p:childTnLst>
                              <p:par>
                                <p:cTn id="3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  <p:bldP spid="3" grpId="0" uiExpand="1" build="p"/>
      <p:bldP spid="4" grpId="0"/>
      <p:bldP spid="8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EBC28A8F-85BF-4C03-A361-AB675812E608}"/>
              </a:ext>
            </a:extLst>
          </p:cNvPr>
          <p:cNvSpPr txBox="1">
            <a:spLocks/>
          </p:cNvSpPr>
          <p:nvPr/>
        </p:nvSpPr>
        <p:spPr>
          <a:xfrm>
            <a:off x="556592" y="1122361"/>
            <a:ext cx="5143168" cy="5474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60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marR="0" lvl="1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marR="0" lvl="2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marR="0" lvl="3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marR="0" lvl="4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marR="0" lvl="5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marR="0" lvl="6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marR="0" lvl="7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marR="0" lvl="8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r>
              <a:rPr lang="en-US" sz="4000"/>
              <a:t>Bài 3: Abstraction</a:t>
            </a: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E4430F33-0610-4A1E-A18B-0F56DD2142E6}"/>
              </a:ext>
            </a:extLst>
          </p:cNvPr>
          <p:cNvSpPr/>
          <p:nvPr/>
        </p:nvSpPr>
        <p:spPr>
          <a:xfrm rot="5400000">
            <a:off x="-345132" y="1024277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8E7A53B-F3AF-4B7E-B227-B13E48DFB5D3}"/>
              </a:ext>
            </a:extLst>
          </p:cNvPr>
          <p:cNvSpPr txBox="1"/>
          <p:nvPr/>
        </p:nvSpPr>
        <p:spPr>
          <a:xfrm>
            <a:off x="1295400" y="3408438"/>
            <a:ext cx="348996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>
                <a:latin typeface="Calibri" panose="020F0502020204030204" pitchFamily="34" charset="0"/>
                <a:cs typeface="Calibri" panose="020F0502020204030204" pitchFamily="34" charset="0"/>
              </a:rPr>
              <a:t>INPUT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latin typeface="Calibri" panose="020F0502020204030204" pitchFamily="34" charset="0"/>
                <a:cs typeface="Calibri" panose="020F0502020204030204" pitchFamily="34" charset="0"/>
              </a:rPr>
              <a:t>Khu vực : ma trậ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latin typeface="Calibri" panose="020F0502020204030204" pitchFamily="34" charset="0"/>
                <a:cs typeface="Calibri" panose="020F0502020204030204" pitchFamily="34" charset="0"/>
              </a:rPr>
              <a:t>Đất liền : 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latin typeface="Calibri" panose="020F0502020204030204" pitchFamily="34" charset="0"/>
                <a:cs typeface="Calibri" panose="020F0502020204030204" pitchFamily="34" charset="0"/>
              </a:rPr>
              <a:t>Vùng nước : 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latin typeface="Calibri" panose="020F0502020204030204" pitchFamily="34" charset="0"/>
                <a:cs typeface="Calibri" panose="020F0502020204030204" pitchFamily="34" charset="0"/>
              </a:rPr>
              <a:t>Ràng buộc để tạo thành đảo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271A49B-AFB9-4495-9BA4-A82D8B5AE875}"/>
              </a:ext>
            </a:extLst>
          </p:cNvPr>
          <p:cNvSpPr txBox="1"/>
          <p:nvPr/>
        </p:nvSpPr>
        <p:spPr>
          <a:xfrm>
            <a:off x="1295400" y="5039654"/>
            <a:ext cx="348996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>
                <a:latin typeface="Calibri" panose="020F0502020204030204" pitchFamily="34" charset="0"/>
                <a:cs typeface="Calibri" panose="020F0502020204030204" pitchFamily="34" charset="0"/>
              </a:rPr>
              <a:t>OUTPUT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latin typeface="Calibri" panose="020F0502020204030204" pitchFamily="34" charset="0"/>
                <a:cs typeface="Calibri" panose="020F0502020204030204" pitchFamily="34" charset="0"/>
              </a:rPr>
              <a:t>Số lượng đảo</a:t>
            </a:r>
          </a:p>
        </p:txBody>
      </p:sp>
      <p:graphicFrame>
        <p:nvGraphicFramePr>
          <p:cNvPr id="9" name="Table 31">
            <a:extLst>
              <a:ext uri="{FF2B5EF4-FFF2-40B4-BE49-F238E27FC236}">
                <a16:creationId xmlns:a16="http://schemas.microsoft.com/office/drawing/2014/main" id="{07338DCA-5CDE-4DBD-81C0-7ADDE508242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44608913"/>
              </p:ext>
            </p:extLst>
          </p:nvPr>
        </p:nvGraphicFramePr>
        <p:xfrm>
          <a:off x="6700818" y="3429000"/>
          <a:ext cx="2743200" cy="2743200"/>
        </p:xfrm>
        <a:graphic>
          <a:graphicData uri="http://schemas.openxmlformats.org/drawingml/2006/table">
            <a:tbl>
              <a:tblPr>
                <a:tableStyleId>{073A0DAA-6AF3-43AB-8588-CEC1D06C72B9}</a:tableStyleId>
              </a:tblPr>
              <a:tblGrid>
                <a:gridCol w="457200">
                  <a:extLst>
                    <a:ext uri="{9D8B030D-6E8A-4147-A177-3AD203B41FA5}">
                      <a16:colId xmlns:a16="http://schemas.microsoft.com/office/drawing/2014/main" val="1944243877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3384197489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1143370842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3194876873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3400469745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2318654732"/>
                    </a:ext>
                  </a:extLst>
                </a:gridCol>
              </a:tblGrid>
              <a:tr h="457200"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98538542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7636982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57032994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4176140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33332570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49877153"/>
                  </a:ext>
                </a:extLst>
              </a:tr>
            </a:tbl>
          </a:graphicData>
        </a:graphic>
      </p:graphicFrame>
      <p:sp>
        <p:nvSpPr>
          <p:cNvPr id="11" name="Subtitle 2">
            <a:extLst>
              <a:ext uri="{FF2B5EF4-FFF2-40B4-BE49-F238E27FC236}">
                <a16:creationId xmlns:a16="http://schemas.microsoft.com/office/drawing/2014/main" id="{ACE01AF4-FE78-4E47-BDF5-0BE294D9E7B0}"/>
              </a:ext>
            </a:extLst>
          </p:cNvPr>
          <p:cNvSpPr txBox="1">
            <a:spLocks/>
          </p:cNvSpPr>
          <p:nvPr/>
        </p:nvSpPr>
        <p:spPr>
          <a:xfrm>
            <a:off x="1295400" y="1553022"/>
            <a:ext cx="9144000" cy="14338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4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457200" marR="0" lvl="1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914400" marR="0" lvl="2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None/>
              <a:defRPr sz="18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371600" marR="0" lvl="3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1828800" marR="0" lvl="4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286000" marR="0" lvl="5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2743200" marR="0" lvl="6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200400" marR="0" lvl="7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3657600" marR="0" lvl="8" indent="0" algn="ctr" rtl="0" eaLnBrk="1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None/>
              <a:defRPr sz="16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pPr algn="l"/>
            <a:r>
              <a:rPr lang="en-US"/>
              <a:t>Cho một khu vực gồm đất liền và vùng nước. Đảo là tập hợp những vùng đất liền ở liền kề nhau và được bao bọc bởi vùng nước xung quanh. Hỏi trong khu vực này có bao nhiêu hòn đảo?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466AA3E-3732-46EC-A099-F3203B102EFB}"/>
              </a:ext>
            </a:extLst>
          </p:cNvPr>
          <p:cNvCxnSpPr>
            <a:cxnSpLocks/>
          </p:cNvCxnSpPr>
          <p:nvPr/>
        </p:nvCxnSpPr>
        <p:spPr>
          <a:xfrm>
            <a:off x="1828800" y="1985278"/>
            <a:ext cx="1603215" cy="0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6288C75-93D4-41B4-B086-3EEF51C58307}"/>
              </a:ext>
            </a:extLst>
          </p:cNvPr>
          <p:cNvCxnSpPr>
            <a:cxnSpLocks/>
          </p:cNvCxnSpPr>
          <p:nvPr/>
        </p:nvCxnSpPr>
        <p:spPr>
          <a:xfrm>
            <a:off x="4038600" y="1985278"/>
            <a:ext cx="1021080" cy="0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A041596-7A51-4A9B-88F2-1BE1E1D9589E}"/>
              </a:ext>
            </a:extLst>
          </p:cNvPr>
          <p:cNvCxnSpPr>
            <a:cxnSpLocks/>
          </p:cNvCxnSpPr>
          <p:nvPr/>
        </p:nvCxnSpPr>
        <p:spPr>
          <a:xfrm>
            <a:off x="5440680" y="1985278"/>
            <a:ext cx="1280160" cy="0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CD488BD-55AE-4387-BAC7-433CE1AD8E86}"/>
              </a:ext>
            </a:extLst>
          </p:cNvPr>
          <p:cNvCxnSpPr>
            <a:cxnSpLocks/>
          </p:cNvCxnSpPr>
          <p:nvPr/>
        </p:nvCxnSpPr>
        <p:spPr>
          <a:xfrm>
            <a:off x="1295400" y="2380903"/>
            <a:ext cx="2136615" cy="0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0B86982-2599-4B7B-B906-AEC891FBAFA8}"/>
              </a:ext>
            </a:extLst>
          </p:cNvPr>
          <p:cNvCxnSpPr>
            <a:cxnSpLocks/>
          </p:cNvCxnSpPr>
          <p:nvPr/>
        </p:nvCxnSpPr>
        <p:spPr>
          <a:xfrm>
            <a:off x="4477545" y="2396143"/>
            <a:ext cx="3569175" cy="0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8499CDC0-B6E0-41A9-AFE8-CC4E36F77F28}"/>
              </a:ext>
            </a:extLst>
          </p:cNvPr>
          <p:cNvCxnSpPr>
            <a:cxnSpLocks/>
          </p:cNvCxnSpPr>
          <p:nvPr/>
        </p:nvCxnSpPr>
        <p:spPr>
          <a:xfrm>
            <a:off x="3556597" y="2807623"/>
            <a:ext cx="2705535" cy="0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476300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EBC28A8F-85BF-4C03-A361-AB675812E608}"/>
              </a:ext>
            </a:extLst>
          </p:cNvPr>
          <p:cNvSpPr txBox="1">
            <a:spLocks/>
          </p:cNvSpPr>
          <p:nvPr/>
        </p:nvSpPr>
        <p:spPr>
          <a:xfrm>
            <a:off x="371790" y="1122361"/>
            <a:ext cx="6577650" cy="5474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60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marR="0" lvl="1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marR="0" lvl="2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marR="0" lvl="3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marR="0" lvl="4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marR="0" lvl="5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marR="0" lvl="6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marR="0" lvl="7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marR="0" lvl="8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r>
              <a:rPr lang="en-US" sz="4000"/>
              <a:t>Bài 3: Pattern recognition</a:t>
            </a: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E4430F33-0610-4A1E-A18B-0F56DD2142E6}"/>
              </a:ext>
            </a:extLst>
          </p:cNvPr>
          <p:cNvSpPr/>
          <p:nvPr/>
        </p:nvSpPr>
        <p:spPr>
          <a:xfrm rot="5400000">
            <a:off x="-345132" y="1024277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31" name="Table 31">
            <a:extLst>
              <a:ext uri="{FF2B5EF4-FFF2-40B4-BE49-F238E27FC236}">
                <a16:creationId xmlns:a16="http://schemas.microsoft.com/office/drawing/2014/main" id="{D9B042FD-51AE-453D-AE86-F7B5CF3970C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1351081"/>
              </p:ext>
            </p:extLst>
          </p:nvPr>
        </p:nvGraphicFramePr>
        <p:xfrm>
          <a:off x="2072640" y="3588026"/>
          <a:ext cx="2743200" cy="2743200"/>
        </p:xfrm>
        <a:graphic>
          <a:graphicData uri="http://schemas.openxmlformats.org/drawingml/2006/table">
            <a:tbl>
              <a:tblPr>
                <a:tableStyleId>{073A0DAA-6AF3-43AB-8588-CEC1D06C72B9}</a:tableStyleId>
              </a:tblPr>
              <a:tblGrid>
                <a:gridCol w="457200">
                  <a:extLst>
                    <a:ext uri="{9D8B030D-6E8A-4147-A177-3AD203B41FA5}">
                      <a16:colId xmlns:a16="http://schemas.microsoft.com/office/drawing/2014/main" val="1944243877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3384197489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1143370842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3194876873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3400469745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2318654732"/>
                    </a:ext>
                  </a:extLst>
                </a:gridCol>
              </a:tblGrid>
              <a:tr h="457200"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98538542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7636982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57032994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4176140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33332570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49877153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C836A8C7-DAE9-498F-9BBF-B04A612884A0}"/>
              </a:ext>
            </a:extLst>
          </p:cNvPr>
          <p:cNvSpPr txBox="1"/>
          <p:nvPr/>
        </p:nvSpPr>
        <p:spPr>
          <a:xfrm>
            <a:off x="1647122" y="1882156"/>
            <a:ext cx="830708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ìm hòn đảo, sử dụng        để duyệt qua mảng rồi tìm xung quanh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A8A7F23-7EA7-4DC7-A2AC-E083BE1B7AC2}"/>
              </a:ext>
            </a:extLst>
          </p:cNvPr>
          <p:cNvSpPr/>
          <p:nvPr/>
        </p:nvSpPr>
        <p:spPr>
          <a:xfrm>
            <a:off x="4479332" y="1899390"/>
            <a:ext cx="444342" cy="444431"/>
          </a:xfrm>
          <a:prstGeom prst="rect">
            <a:avLst/>
          </a:prstGeom>
          <a:solidFill>
            <a:schemeClr val="accent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52098B0-929C-48E0-B910-E1FF6A6C0311}"/>
              </a:ext>
            </a:extLst>
          </p:cNvPr>
          <p:cNvSpPr/>
          <p:nvPr/>
        </p:nvSpPr>
        <p:spPr>
          <a:xfrm>
            <a:off x="2536777" y="3593534"/>
            <a:ext cx="444342" cy="444431"/>
          </a:xfrm>
          <a:prstGeom prst="rect">
            <a:avLst/>
          </a:prstGeom>
          <a:solidFill>
            <a:srgbClr val="3BFF21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AE4D458-2564-43ED-A0DB-AEE3AEF499A6}"/>
              </a:ext>
            </a:extLst>
          </p:cNvPr>
          <p:cNvSpPr/>
          <p:nvPr/>
        </p:nvSpPr>
        <p:spPr>
          <a:xfrm>
            <a:off x="2079783" y="4049497"/>
            <a:ext cx="444342" cy="444431"/>
          </a:xfrm>
          <a:prstGeom prst="rect">
            <a:avLst/>
          </a:prstGeom>
          <a:solidFill>
            <a:srgbClr val="3BFF21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7396859-4BDF-4EC6-959F-5ABD63E41735}"/>
              </a:ext>
            </a:extLst>
          </p:cNvPr>
          <p:cNvSpPr/>
          <p:nvPr/>
        </p:nvSpPr>
        <p:spPr>
          <a:xfrm>
            <a:off x="1622789" y="3595169"/>
            <a:ext cx="444342" cy="444431"/>
          </a:xfrm>
          <a:prstGeom prst="rect">
            <a:avLst/>
          </a:prstGeom>
          <a:solidFill>
            <a:srgbClr val="FF0000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DC0A84C-94C1-4C57-BD63-9FC69FD0927A}"/>
              </a:ext>
            </a:extLst>
          </p:cNvPr>
          <p:cNvSpPr/>
          <p:nvPr/>
        </p:nvSpPr>
        <p:spPr>
          <a:xfrm>
            <a:off x="2079783" y="3140841"/>
            <a:ext cx="444342" cy="444431"/>
          </a:xfrm>
          <a:prstGeom prst="rect">
            <a:avLst/>
          </a:prstGeom>
          <a:solidFill>
            <a:srgbClr val="FF0000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3E013AF-8650-4B1F-8474-78A72C32854F}"/>
              </a:ext>
            </a:extLst>
          </p:cNvPr>
          <p:cNvSpPr/>
          <p:nvPr/>
        </p:nvSpPr>
        <p:spPr>
          <a:xfrm>
            <a:off x="4479332" y="1899389"/>
            <a:ext cx="444342" cy="444431"/>
          </a:xfrm>
          <a:prstGeom prst="rect">
            <a:avLst/>
          </a:prstGeom>
          <a:solidFill>
            <a:schemeClr val="accent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D73C9D6-E7FE-4C8C-AA35-CCC89A1E4CDA}"/>
              </a:ext>
            </a:extLst>
          </p:cNvPr>
          <p:cNvSpPr/>
          <p:nvPr/>
        </p:nvSpPr>
        <p:spPr>
          <a:xfrm>
            <a:off x="2994183" y="4049497"/>
            <a:ext cx="444342" cy="444431"/>
          </a:xfrm>
          <a:prstGeom prst="rect">
            <a:avLst/>
          </a:prstGeom>
          <a:solidFill>
            <a:srgbClr val="3BFF21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1FCAC87-20E9-4BE0-9642-456AD5ABB9AA}"/>
              </a:ext>
            </a:extLst>
          </p:cNvPr>
          <p:cNvSpPr/>
          <p:nvPr/>
        </p:nvSpPr>
        <p:spPr>
          <a:xfrm>
            <a:off x="2536777" y="4508965"/>
            <a:ext cx="444342" cy="444431"/>
          </a:xfrm>
          <a:prstGeom prst="rect">
            <a:avLst/>
          </a:prstGeom>
          <a:solidFill>
            <a:srgbClr val="3BFF21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ED6E03A-726D-4BE8-9ECE-DFC1C286302D}"/>
              </a:ext>
            </a:extLst>
          </p:cNvPr>
          <p:cNvSpPr/>
          <p:nvPr/>
        </p:nvSpPr>
        <p:spPr>
          <a:xfrm>
            <a:off x="2994183" y="4965214"/>
            <a:ext cx="444342" cy="444431"/>
          </a:xfrm>
          <a:prstGeom prst="rect">
            <a:avLst/>
          </a:prstGeom>
          <a:solidFill>
            <a:srgbClr val="3BFF21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FCA1FA6-314F-4F41-AA7D-619A1574A964}"/>
              </a:ext>
            </a:extLst>
          </p:cNvPr>
          <p:cNvSpPr/>
          <p:nvPr/>
        </p:nvSpPr>
        <p:spPr>
          <a:xfrm>
            <a:off x="3449478" y="4508966"/>
            <a:ext cx="444342" cy="444431"/>
          </a:xfrm>
          <a:prstGeom prst="rect">
            <a:avLst/>
          </a:prstGeom>
          <a:solidFill>
            <a:srgbClr val="3BFF21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F2F7DC8-3AE3-4B6C-8DB9-804B1472F6CD}"/>
              </a:ext>
            </a:extLst>
          </p:cNvPr>
          <p:cNvSpPr/>
          <p:nvPr/>
        </p:nvSpPr>
        <p:spPr>
          <a:xfrm>
            <a:off x="2079783" y="5420095"/>
            <a:ext cx="444342" cy="444431"/>
          </a:xfrm>
          <a:prstGeom prst="rect">
            <a:avLst/>
          </a:prstGeom>
          <a:solidFill>
            <a:srgbClr val="3BFF21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76366DA-F8DE-43FD-B56A-EA9720E44DF0}"/>
              </a:ext>
            </a:extLst>
          </p:cNvPr>
          <p:cNvSpPr/>
          <p:nvPr/>
        </p:nvSpPr>
        <p:spPr>
          <a:xfrm>
            <a:off x="2536777" y="5878441"/>
            <a:ext cx="444342" cy="444431"/>
          </a:xfrm>
          <a:prstGeom prst="rect">
            <a:avLst/>
          </a:prstGeom>
          <a:solidFill>
            <a:srgbClr val="3BFF21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5B8B19C-330C-46BB-B097-9412FDD415FF}"/>
              </a:ext>
            </a:extLst>
          </p:cNvPr>
          <p:cNvSpPr/>
          <p:nvPr/>
        </p:nvSpPr>
        <p:spPr>
          <a:xfrm>
            <a:off x="2079783" y="6331226"/>
            <a:ext cx="444342" cy="444431"/>
          </a:xfrm>
          <a:prstGeom prst="rect">
            <a:avLst/>
          </a:prstGeom>
          <a:solidFill>
            <a:srgbClr val="FF0000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40245FD-77E5-4637-9DEC-79CE31A360DE}"/>
              </a:ext>
            </a:extLst>
          </p:cNvPr>
          <p:cNvSpPr/>
          <p:nvPr/>
        </p:nvSpPr>
        <p:spPr>
          <a:xfrm>
            <a:off x="1628257" y="5871650"/>
            <a:ext cx="444342" cy="444431"/>
          </a:xfrm>
          <a:prstGeom prst="rect">
            <a:avLst/>
          </a:prstGeom>
          <a:solidFill>
            <a:srgbClr val="FF0000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1C3FB668-9ED7-447D-9CCB-D055E45E7CE5}"/>
              </a:ext>
            </a:extLst>
          </p:cNvPr>
          <p:cNvSpPr/>
          <p:nvPr/>
        </p:nvSpPr>
        <p:spPr>
          <a:xfrm>
            <a:off x="4370265" y="5424577"/>
            <a:ext cx="444342" cy="444431"/>
          </a:xfrm>
          <a:prstGeom prst="rect">
            <a:avLst/>
          </a:prstGeom>
          <a:solidFill>
            <a:srgbClr val="3BFF21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E028776C-BC24-4586-AE64-154479FD5D19}"/>
              </a:ext>
            </a:extLst>
          </p:cNvPr>
          <p:cNvSpPr/>
          <p:nvPr/>
        </p:nvSpPr>
        <p:spPr>
          <a:xfrm>
            <a:off x="3913991" y="5873348"/>
            <a:ext cx="444342" cy="444431"/>
          </a:xfrm>
          <a:prstGeom prst="rect">
            <a:avLst/>
          </a:prstGeom>
          <a:solidFill>
            <a:srgbClr val="3BFF21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9844673-BE93-492A-A880-9B888997BEFE}"/>
              </a:ext>
            </a:extLst>
          </p:cNvPr>
          <p:cNvSpPr/>
          <p:nvPr/>
        </p:nvSpPr>
        <p:spPr>
          <a:xfrm>
            <a:off x="4821349" y="5880071"/>
            <a:ext cx="444342" cy="444431"/>
          </a:xfrm>
          <a:prstGeom prst="rect">
            <a:avLst/>
          </a:prstGeom>
          <a:solidFill>
            <a:srgbClr val="FF0000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E8DEC186-8B32-484F-BC73-267569BE14A9}"/>
              </a:ext>
            </a:extLst>
          </p:cNvPr>
          <p:cNvSpPr/>
          <p:nvPr/>
        </p:nvSpPr>
        <p:spPr>
          <a:xfrm>
            <a:off x="4370265" y="6335709"/>
            <a:ext cx="444342" cy="444431"/>
          </a:xfrm>
          <a:prstGeom prst="rect">
            <a:avLst/>
          </a:prstGeom>
          <a:solidFill>
            <a:srgbClr val="FF0000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719B84B-E7F3-4A8D-9D44-4D8562B57095}"/>
              </a:ext>
            </a:extLst>
          </p:cNvPr>
          <p:cNvSpPr txBox="1"/>
          <p:nvPr/>
        </p:nvSpPr>
        <p:spPr>
          <a:xfrm>
            <a:off x="5800663" y="3694272"/>
            <a:ext cx="167225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ố hòn đảo: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2E88B95-AFB6-40B9-96A6-368194786D49}"/>
              </a:ext>
            </a:extLst>
          </p:cNvPr>
          <p:cNvSpPr/>
          <p:nvPr/>
        </p:nvSpPr>
        <p:spPr>
          <a:xfrm>
            <a:off x="7376162" y="3712848"/>
            <a:ext cx="373378" cy="4440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C710376-D539-4210-9C69-79FFE7CFB58E}"/>
              </a:ext>
            </a:extLst>
          </p:cNvPr>
          <p:cNvSpPr/>
          <p:nvPr/>
        </p:nvSpPr>
        <p:spPr>
          <a:xfrm>
            <a:off x="7376162" y="3703082"/>
            <a:ext cx="373378" cy="4440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</a:t>
            </a:r>
          </a:p>
        </p:txBody>
      </p:sp>
    </p:spTree>
    <p:extLst>
      <p:ext uri="{BB962C8B-B14F-4D97-AF65-F5344CB8AC3E}">
        <p14:creationId xmlns:p14="http://schemas.microsoft.com/office/powerpoint/2010/main" val="13278439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42" presetClass="entr" presetSubtype="0" fill="hold" grpId="8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42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91667E-6 7.40741E-7 L -0.19675 0.24699 " pathEditMode="relative" rAng="0" ptsTypes="AA">
                                      <p:cBhvr>
                                        <p:cTn id="29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9844" y="1233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000"/>
                            </p:stCondLst>
                            <p:childTnLst>
                              <p:par>
                                <p:cTn id="3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42" presetClass="path" presetSubtype="0" accel="50000" decel="5000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19675 0.24699 L -0.15951 0.24745 " pathEditMode="relative" rAng="0" ptsTypes="AA">
                                      <p:cBhvr>
                                        <p:cTn id="46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62" y="23"/>
                                    </p:animMotion>
                                  </p:childTnLst>
                                </p:cTn>
                              </p:par>
                              <p:par>
                                <p:cTn id="47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8333E-6 2.22222E-6 L 0.03737 0.00023 " pathEditMode="relative" rAng="0" ptsTypes="AA">
                                      <p:cBhvr>
                                        <p:cTn id="48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62" y="0"/>
                                    </p:animMotion>
                                  </p:childTnLst>
                                </p:cTn>
                              </p:par>
                              <p:par>
                                <p:cTn id="49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8333E-6 -2.96296E-6 L 0.03763 -0.00046 " pathEditMode="relative" rAng="0" ptsTypes="AA">
                                      <p:cBhvr>
                                        <p:cTn id="50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49" y="-46"/>
                                    </p:animMotion>
                                  </p:childTnLst>
                                </p:cTn>
                              </p:par>
                              <p:par>
                                <p:cTn id="51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8333E-6 3.33333E-6 L 0.03737 0.00023 " pathEditMode="relative" rAng="0" ptsTypes="AA">
                                      <p:cBhvr>
                                        <p:cTn id="52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62" y="0"/>
                                    </p:animMotion>
                                  </p:childTnLst>
                                </p:cTn>
                              </p:par>
                              <p:par>
                                <p:cTn id="53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8333E-6 -1.48148E-6 L 0.0375 -0.00046 " pathEditMode="relative" rAng="0" ptsTypes="AA">
                                      <p:cBhvr>
                                        <p:cTn id="54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75" y="-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2000"/>
                            </p:stCondLst>
                            <p:childTnLst>
                              <p:par>
                                <p:cTn id="56" presetID="19" presetClass="emph" presetSubtype="0" fill="hold" grpId="3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5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3BFF21"/>
                                      </p:to>
                                    </p:animClr>
                                    <p:animClr clrSpc="rgb" dir="cw">
                                      <p:cBhvr>
                                        <p:cTn id="5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3BFF21"/>
                                      </p:to>
                                    </p:animClr>
                                    <p:set>
                                      <p:cBhvr>
                                        <p:cTn id="59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60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0" presetClass="path" presetSubtype="0" accel="50000" decel="5000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16029 0.24699 L -0.01029 0.24699 L -0.19844 0.31204 L -0.00977 0.31204 L -0.19844 0.38102 L -0.12201 0.38009 " pathEditMode="relative" rAng="0" ptsTypes="AAAAAA">
                                      <p:cBhvr>
                                        <p:cTn id="64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612" y="6690"/>
                                    </p:animMotion>
                                  </p:childTnLst>
                                </p:cTn>
                              </p:par>
                              <p:par>
                                <p:cTn id="65" presetID="1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2000"/>
                            </p:stCondLst>
                            <p:childTnLst>
                              <p:par>
                                <p:cTn id="74" presetID="22" presetClass="entr" presetSubtype="4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6" fill="hold">
                      <p:stCondLst>
                        <p:cond delay="indefinite"/>
                      </p:stCondLst>
                      <p:childTnLst>
                        <p:par>
                          <p:cTn id="87" fill="hold">
                            <p:stCondLst>
                              <p:cond delay="0"/>
                            </p:stCondLst>
                            <p:childTnLst>
                              <p:par>
                                <p:cTn id="88" presetID="42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8333E-6 3.33333E-6 L 0.03763 3.33333E-6 " pathEditMode="relative" rAng="0" ptsTypes="AA">
                                      <p:cBhvr>
                                        <p:cTn id="89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75" y="0"/>
                                    </p:animMotion>
                                  </p:childTnLst>
                                </p:cTn>
                              </p:par>
                              <p:par>
                                <p:cTn id="90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875E-6 -4.81481E-6 L 0.03763 -0.00046 " pathEditMode="relative" rAng="0" ptsTypes="AA">
                                      <p:cBhvr>
                                        <p:cTn id="91" dur="2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75" y="-23"/>
                                    </p:animMotion>
                                  </p:childTnLst>
                                </p:cTn>
                              </p:par>
                              <p:par>
                                <p:cTn id="92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8333E-6 -4.81481E-6 L 0.0375 0.00047 " pathEditMode="relative" rAng="0" ptsTypes="AA">
                                      <p:cBhvr>
                                        <p:cTn id="93" dur="2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75" y="23"/>
                                    </p:animMotion>
                                  </p:childTnLst>
                                </p:cTn>
                              </p:par>
                              <p:par>
                                <p:cTn id="94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8333E-6 -1.48148E-6 L 0.0375 0.00046 " pathEditMode="relative" rAng="0" ptsTypes="AA">
                                      <p:cBhvr>
                                        <p:cTn id="95" dur="2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75" y="23"/>
                                    </p:animMotion>
                                  </p:childTnLst>
                                </p:cTn>
                              </p:par>
                              <p:par>
                                <p:cTn id="96" presetID="42" presetClass="path" presetSubtype="0" accel="50000" decel="50000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12201 0.38009 L -0.08451 0.38055 " pathEditMode="relative" rAng="0" ptsTypes="AA">
                                      <p:cBhvr>
                                        <p:cTn id="97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75" y="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8" fill="hold">
                      <p:stCondLst>
                        <p:cond delay="indefinite"/>
                      </p:stCondLst>
                      <p:childTnLst>
                        <p:par>
                          <p:cTn id="99" fill="hold">
                            <p:stCondLst>
                              <p:cond delay="0"/>
                            </p:stCondLst>
                            <p:childTnLst>
                              <p:par>
                                <p:cTn id="100" presetID="42" presetClass="path" presetSubtype="0" accel="50000" decel="5000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3763 4.81481E-6 L 0.075 -0.00023 " pathEditMode="relative" rAng="0" ptsTypes="AA">
                                      <p:cBhvr>
                                        <p:cTn id="101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75" y="0"/>
                                    </p:animMotion>
                                  </p:childTnLst>
                                </p:cTn>
                              </p:par>
                              <p:par>
                                <p:cTn id="102" presetID="42" presetClass="path" presetSubtype="0" accel="50000" decel="5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3737 -0.00046 L 0.07487 -4.81481E-6 " pathEditMode="relative" rAng="0" ptsTypes="AA">
                                      <p:cBhvr>
                                        <p:cTn id="103" dur="2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88" y="-23"/>
                                    </p:animMotion>
                                  </p:childTnLst>
                                </p:cTn>
                              </p:par>
                              <p:par>
                                <p:cTn id="104" presetID="42" presetClass="path" presetSubtype="0" accel="50000" decel="5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3763 -0.00046 L 0.07513 0.00047 " pathEditMode="relative" rAng="0" ptsTypes="AA">
                                      <p:cBhvr>
                                        <p:cTn id="105" dur="2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75" y="46"/>
                                    </p:animMotion>
                                  </p:childTnLst>
                                </p:cTn>
                              </p:par>
                              <p:par>
                                <p:cTn id="106" presetID="42" presetClass="path" presetSubtype="0" accel="50000" decel="5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375 0.00046 L 0.075 -0.00046 " pathEditMode="relative" rAng="0" ptsTypes="AA">
                                      <p:cBhvr>
                                        <p:cTn id="107" dur="2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75" y="-46"/>
                                    </p:animMotion>
                                  </p:childTnLst>
                                </p:cTn>
                              </p:par>
                              <p:par>
                                <p:cTn id="108" presetID="42" presetClass="path" presetSubtype="0" accel="50000" decel="50000" fill="hold" grpId="4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8451 0.38055 L -0.04688 0.38009 " pathEditMode="relative" rAng="0" ptsTypes="AA">
                                      <p:cBhvr>
                                        <p:cTn id="109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75" y="-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0" fill="hold">
                      <p:stCondLst>
                        <p:cond delay="indefinite"/>
                      </p:stCondLst>
                      <p:childTnLst>
                        <p:par>
                          <p:cTn id="111" fill="hold">
                            <p:stCondLst>
                              <p:cond delay="0"/>
                            </p:stCondLst>
                            <p:childTnLst>
                              <p:par>
                                <p:cTn id="112" presetID="0" presetClass="path" presetSubtype="0" accel="50000" decel="50000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75 -0.00186 L 0.075 0.13472 L 0.0013 0.13472 L 0.0013 0.06713 L 0.00091 0.06713 " pathEditMode="relative" ptsTypes="AAAAA">
                                      <p:cBhvr>
                                        <p:cTn id="113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14" presetID="0" presetClass="path" presetSubtype="0" accel="50000" decel="50000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75 0.00047 L 0.075 0.13519 L -2.08333E-6 0.13519 L -2.08333E-6 0.06528 L -2.08333E-6 0.06621 " pathEditMode="relative" rAng="0" ptsTypes="AAAAA">
                                      <p:cBhvr>
                                        <p:cTn id="115" dur="2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750" y="6736"/>
                                    </p:animMotion>
                                  </p:childTnLst>
                                </p:cTn>
                              </p:par>
                              <p:par>
                                <p:cTn id="116" presetID="0" presetClass="path" presetSubtype="0" accel="50000" decel="50000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7474 -0.00092 L 0.07474 0.13311 L 0.00052 0.13311 L -0.00026 0.06644 L 0.00013 0.06644 " pathEditMode="relative" rAng="0" ptsTypes="AAAAA">
                                      <p:cBhvr>
                                        <p:cTn id="117" dur="2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750" y="6690"/>
                                    </p:animMotion>
                                  </p:childTnLst>
                                </p:cTn>
                              </p:par>
                              <p:par>
                                <p:cTn id="118" presetID="0" presetClass="path" presetSubtype="0" accel="50000" decel="50000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75 -0.00092 L 0.075 0.13171 L -0.00039 0.13171 L -0.00039 0.06644 L -2.08333E-6 0.06644 " pathEditMode="relative" rAng="0" ptsTypes="AAAAA">
                                      <p:cBhvr>
                                        <p:cTn id="119" dur="2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776" y="6620"/>
                                    </p:animMotion>
                                  </p:childTnLst>
                                </p:cTn>
                              </p:par>
                              <p:par>
                                <p:cTn id="120" presetID="0" presetClass="path" presetSubtype="0" accel="50000" decel="50000" fill="hold" grpId="5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4753 0.3794 L -0.04753 0.51435 L -0.12253 0.51435 L -0.12253 0.44676 L -0.12175 0.44676 " pathEditMode="relative" rAng="0" ptsTypes="AAAAA">
                                      <p:cBhvr>
                                        <p:cTn id="121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750" y="673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2" fill="hold">
                      <p:stCondLst>
                        <p:cond delay="indefinite"/>
                      </p:stCondLst>
                      <p:childTnLst>
                        <p:par>
                          <p:cTn id="123" fill="hold">
                            <p:stCondLst>
                              <p:cond delay="0"/>
                            </p:stCondLst>
                            <p:childTnLst>
                              <p:par>
                                <p:cTn id="124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5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7" fill="hold">
                      <p:stCondLst>
                        <p:cond delay="indefinite"/>
                      </p:stCondLst>
                      <p:childTnLst>
                        <p:par>
                          <p:cTn id="128" fill="hold">
                            <p:stCondLst>
                              <p:cond delay="0"/>
                            </p:stCondLst>
                            <p:childTnLst>
                              <p:par>
                                <p:cTn id="129" presetID="0" presetClass="path" presetSubtype="0" accel="50000" decel="50000" fill="hold" grpId="6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12318 0.44745 L -0.08516 0.38194 L -0.00951 0.38194 L -0.19766 0.44653 L -0.00951 0.44653 L -0.19766 0.51319 L -0.01016 0.51319 L -0.19714 0.57986 L -0.19714 0.58102 " pathEditMode="relative" rAng="0" ptsTypes="AAAAAAAAA">
                                      <p:cBhvr>
                                        <p:cTn id="130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53" y="3403"/>
                                    </p:animMotion>
                                  </p:childTnLst>
                                </p:cTn>
                              </p:par>
                              <p:par>
                                <p:cTn id="131" presetID="1" presetClass="exit" presetSubtype="0" fill="hold" grpId="4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3" presetID="1" presetClass="exit" presetSubtype="0" fill="hold" grpId="4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5" presetID="1" presetClass="exit" presetSubtype="0" fill="hold" grpId="4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7" presetID="1" presetClass="exit" presetSubtype="0" fill="hold" grpId="4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9" fill="hold">
                            <p:stCondLst>
                              <p:cond delay="2000"/>
                            </p:stCondLst>
                            <p:childTnLst>
                              <p:par>
                                <p:cTn id="140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3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4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9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2" fill="hold">
                      <p:stCondLst>
                        <p:cond delay="indefinite"/>
                      </p:stCondLst>
                      <p:childTnLst>
                        <p:par>
                          <p:cTn id="153" fill="hold">
                            <p:stCondLst>
                              <p:cond delay="0"/>
                            </p:stCondLst>
                            <p:childTnLst>
                              <p:par>
                                <p:cTn id="154" presetID="42" presetClass="path" presetSubtype="0" accel="50000" decel="50000" fill="hold" grpId="7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19714 0.58102 L -0.00964 0.58102 " pathEditMode="relative" rAng="0" ptsTypes="AA">
                                      <p:cBhvr>
                                        <p:cTn id="155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375" y="0"/>
                                    </p:animMotion>
                                  </p:childTnLst>
                                </p:cTn>
                              </p:par>
                              <p:par>
                                <p:cTn id="156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8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0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2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4" fill="hold">
                            <p:stCondLst>
                              <p:cond delay="2000"/>
                            </p:stCondLst>
                            <p:childTnLst>
                              <p:par>
                                <p:cTn id="16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8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7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3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4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6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3" grpId="0"/>
      <p:bldP spid="7" grpId="0" animBg="1"/>
      <p:bldP spid="8" grpId="0" animBg="1"/>
      <p:bldP spid="8" grpId="1" animBg="1"/>
      <p:bldP spid="8" grpId="2" animBg="1"/>
      <p:bldP spid="9" grpId="0" animBg="1"/>
      <p:bldP spid="9" grpId="1" animBg="1"/>
      <p:bldP spid="9" grpId="2" animBg="1"/>
      <p:bldP spid="10" grpId="0" animBg="1"/>
      <p:bldP spid="10" grpId="1" animBg="1"/>
      <p:bldP spid="10" grpId="2" animBg="1"/>
      <p:bldP spid="10" grpId="3" animBg="1"/>
      <p:bldP spid="11" grpId="0" animBg="1"/>
      <p:bldP spid="11" grpId="1" animBg="1"/>
      <p:bldP spid="11" grpId="2" animBg="1"/>
      <p:bldP spid="12" grpId="0" animBg="1"/>
      <p:bldP spid="12" grpId="1" animBg="1"/>
      <p:bldP spid="12" grpId="2" animBg="1"/>
      <p:bldP spid="12" grpId="3" animBg="1"/>
      <p:bldP spid="12" grpId="4" animBg="1"/>
      <p:bldP spid="12" grpId="5" animBg="1"/>
      <p:bldP spid="12" grpId="6" animBg="1"/>
      <p:bldP spid="12" grpId="7" animBg="1"/>
      <p:bldP spid="12" grpId="8" animBg="1"/>
      <p:bldP spid="14" grpId="0" animBg="1"/>
      <p:bldP spid="14" grpId="1" animBg="1"/>
      <p:bldP spid="14" grpId="2" animBg="1"/>
      <p:bldP spid="14" grpId="3" animBg="1"/>
      <p:bldP spid="14" grpId="4" animBg="1"/>
      <p:bldP spid="16" grpId="0" animBg="1"/>
      <p:bldP spid="16" grpId="1" animBg="1"/>
      <p:bldP spid="16" grpId="2" animBg="1"/>
      <p:bldP spid="16" grpId="3" animBg="1"/>
      <p:bldP spid="16" grpId="4" animBg="1"/>
      <p:bldP spid="17" grpId="0" animBg="1"/>
      <p:bldP spid="17" grpId="1" animBg="1"/>
      <p:bldP spid="17" grpId="2" animBg="1"/>
      <p:bldP spid="17" grpId="3" animBg="1"/>
      <p:bldP spid="17" grpId="4" animBg="1"/>
      <p:bldP spid="19" grpId="0" animBg="1"/>
      <p:bldP spid="19" grpId="1" animBg="1"/>
      <p:bldP spid="19" grpId="2" animBg="1"/>
      <p:bldP spid="19" grpId="3" animBg="1"/>
      <p:bldP spid="19" grpId="4" animBg="1"/>
      <p:bldP spid="20" grpId="0" animBg="1"/>
      <p:bldP spid="20" grpId="1" animBg="1"/>
      <p:bldP spid="21" grpId="0" animBg="1"/>
      <p:bldP spid="21" grpId="1" animBg="1"/>
      <p:bldP spid="22" grpId="0" animBg="1"/>
      <p:bldP spid="22" grpId="1" animBg="1"/>
      <p:bldP spid="23" grpId="0" animBg="1"/>
      <p:bldP spid="23" grpId="1" animBg="1"/>
      <p:bldP spid="24" grpId="0" animBg="1"/>
      <p:bldP spid="25" grpId="0" animBg="1"/>
      <p:bldP spid="26" grpId="0" animBg="1"/>
      <p:bldP spid="27" grpId="0" animBg="1"/>
      <p:bldP spid="28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EBC28A8F-85BF-4C03-A361-AB675812E608}"/>
              </a:ext>
            </a:extLst>
          </p:cNvPr>
          <p:cNvSpPr txBox="1">
            <a:spLocks/>
          </p:cNvSpPr>
          <p:nvPr/>
        </p:nvSpPr>
        <p:spPr>
          <a:xfrm>
            <a:off x="556592" y="1122361"/>
            <a:ext cx="5143168" cy="5474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60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marR="0" lvl="1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marR="0" lvl="2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marR="0" lvl="3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marR="0" lvl="4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marR="0" lvl="5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marR="0" lvl="6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marR="0" lvl="7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marR="0" lvl="8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r>
              <a:rPr lang="en-US" sz="4000"/>
              <a:t>Bài 3: Algorithm</a:t>
            </a: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E4430F33-0610-4A1E-A18B-0F56DD2142E6}"/>
              </a:ext>
            </a:extLst>
          </p:cNvPr>
          <p:cNvSpPr/>
          <p:nvPr/>
        </p:nvSpPr>
        <p:spPr>
          <a:xfrm rot="5400000">
            <a:off x="-345132" y="1024277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1D256516-0279-494B-8120-2E1623E285B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13494" y="2193112"/>
            <a:ext cx="9144000" cy="4664888"/>
          </a:xfrm>
        </p:spPr>
        <p:txBody>
          <a:bodyPr/>
          <a:lstStyle/>
          <a:p>
            <a:pPr algn="just" defTabSz="457200">
              <a:spcBef>
                <a:spcPts val="0"/>
              </a:spcBef>
            </a:pPr>
            <a:r>
              <a:rPr lang="en-US" sz="1600">
                <a:latin typeface="Consolas" panose="020B0609020204030204" pitchFamily="49" charset="0"/>
              </a:rPr>
              <a:t>Count = 0 </a:t>
            </a:r>
          </a:p>
          <a:p>
            <a:pPr algn="just" defTabSz="457200">
              <a:spcBef>
                <a:spcPts val="0"/>
              </a:spcBef>
            </a:pPr>
            <a:r>
              <a:rPr lang="en-US" sz="1600">
                <a:latin typeface="Consolas" panose="020B0609020204030204" pitchFamily="49" charset="0"/>
              </a:rPr>
              <a:t>for Element in Matrix:</a:t>
            </a:r>
          </a:p>
          <a:p>
            <a:pPr algn="just" defTabSz="457200">
              <a:spcBef>
                <a:spcPts val="0"/>
              </a:spcBef>
            </a:pPr>
            <a:r>
              <a:rPr lang="en-US" sz="1600">
                <a:latin typeface="Consolas" panose="020B0609020204030204" pitchFamily="49" charset="0"/>
              </a:rPr>
              <a:t>	if Element == 1:</a:t>
            </a:r>
          </a:p>
          <a:p>
            <a:pPr algn="just" defTabSz="457200">
              <a:spcBef>
                <a:spcPts val="0"/>
              </a:spcBef>
            </a:pPr>
            <a:r>
              <a:rPr lang="en-US" sz="1600">
                <a:latin typeface="Consolas" panose="020B0609020204030204" pitchFamily="49" charset="0"/>
              </a:rPr>
              <a:t>		stack = [vị trí element]</a:t>
            </a:r>
          </a:p>
          <a:p>
            <a:pPr algn="just" defTabSz="457200">
              <a:spcBef>
                <a:spcPts val="0"/>
              </a:spcBef>
            </a:pPr>
            <a:r>
              <a:rPr lang="en-US" sz="1600">
                <a:latin typeface="Consolas" panose="020B0609020204030204" pitchFamily="49" charset="0"/>
              </a:rPr>
              <a:t>		Element = “X”</a:t>
            </a:r>
          </a:p>
          <a:p>
            <a:pPr algn="just" defTabSz="457200">
              <a:spcBef>
                <a:spcPts val="0"/>
              </a:spcBef>
            </a:pPr>
            <a:r>
              <a:rPr lang="en-US" sz="1600">
                <a:latin typeface="Consolas" panose="020B0609020204030204" pitchFamily="49" charset="0"/>
              </a:rPr>
              <a:t>		flag = True</a:t>
            </a:r>
          </a:p>
          <a:p>
            <a:pPr algn="just" defTabSz="457200">
              <a:spcBef>
                <a:spcPts val="0"/>
              </a:spcBef>
            </a:pPr>
            <a:r>
              <a:rPr lang="en-US" sz="1600">
                <a:latin typeface="Consolas" panose="020B0609020204030204" pitchFamily="49" charset="0"/>
              </a:rPr>
              <a:t>		while stack:</a:t>
            </a:r>
          </a:p>
          <a:p>
            <a:pPr algn="just" defTabSz="457200">
              <a:spcBef>
                <a:spcPts val="0"/>
              </a:spcBef>
            </a:pPr>
            <a:r>
              <a:rPr lang="en-US" sz="1600">
                <a:latin typeface="Consolas" panose="020B0609020204030204" pitchFamily="49" charset="0"/>
              </a:rPr>
              <a:t>			x, y = stack.pop()</a:t>
            </a:r>
          </a:p>
          <a:p>
            <a:pPr algn="just" defTabSz="457200">
              <a:spcBef>
                <a:spcPts val="0"/>
              </a:spcBef>
            </a:pPr>
            <a:r>
              <a:rPr lang="en-US" sz="1600">
                <a:latin typeface="Consolas" panose="020B0609020204030204" pitchFamily="49" charset="0"/>
              </a:rPr>
              <a:t>			for 4 around-element:</a:t>
            </a:r>
          </a:p>
          <a:p>
            <a:pPr algn="just" defTabSz="457200">
              <a:spcBef>
                <a:spcPts val="0"/>
              </a:spcBef>
            </a:pPr>
            <a:r>
              <a:rPr lang="en-US" sz="1600">
                <a:latin typeface="Consolas" panose="020B0609020204030204" pitchFamily="49" charset="0"/>
              </a:rPr>
              <a:t>				if around-element == 1:</a:t>
            </a:r>
          </a:p>
          <a:p>
            <a:pPr algn="just" defTabSz="457200">
              <a:spcBef>
                <a:spcPts val="0"/>
              </a:spcBef>
            </a:pPr>
            <a:r>
              <a:rPr lang="en-US" sz="1600">
                <a:latin typeface="Consolas" panose="020B0609020204030204" pitchFamily="49" charset="0"/>
              </a:rPr>
              <a:t>					stack.append(vị trí around-element)</a:t>
            </a:r>
          </a:p>
          <a:p>
            <a:pPr algn="just" defTabSz="457200">
              <a:spcBef>
                <a:spcPts val="0"/>
              </a:spcBef>
            </a:pPr>
            <a:r>
              <a:rPr lang="en-US" sz="1600">
                <a:latin typeface="Consolas" panose="020B0609020204030204" pitchFamily="49" charset="0"/>
              </a:rPr>
              <a:t>					around-element = “X”</a:t>
            </a:r>
          </a:p>
          <a:p>
            <a:pPr algn="just" defTabSz="457200">
              <a:spcBef>
                <a:spcPts val="0"/>
              </a:spcBef>
            </a:pPr>
            <a:r>
              <a:rPr lang="en-US" sz="1600">
                <a:latin typeface="Consolas" panose="020B0609020204030204" pitchFamily="49" charset="0"/>
              </a:rPr>
              <a:t>				if around-element out of bound:</a:t>
            </a:r>
          </a:p>
          <a:p>
            <a:pPr algn="just" defTabSz="457200">
              <a:spcBef>
                <a:spcPts val="0"/>
              </a:spcBef>
            </a:pPr>
            <a:r>
              <a:rPr lang="en-US" sz="1600">
                <a:latin typeface="Consolas" panose="020B0609020204030204" pitchFamily="49" charset="0"/>
              </a:rPr>
              <a:t>					flag = False</a:t>
            </a:r>
          </a:p>
          <a:p>
            <a:pPr algn="just" defTabSz="457200">
              <a:spcBef>
                <a:spcPts val="0"/>
              </a:spcBef>
            </a:pPr>
            <a:r>
              <a:rPr lang="en-US" sz="1600">
                <a:latin typeface="Consolas" panose="020B0609020204030204" pitchFamily="49" charset="0"/>
              </a:rPr>
              <a:t>		if flag:</a:t>
            </a:r>
          </a:p>
          <a:p>
            <a:pPr algn="just" defTabSz="457200">
              <a:spcBef>
                <a:spcPts val="0"/>
              </a:spcBef>
            </a:pPr>
            <a:r>
              <a:rPr lang="en-US" sz="1600">
                <a:latin typeface="Consolas" panose="020B0609020204030204" pitchFamily="49" charset="0"/>
              </a:rPr>
              <a:t>			Cound += 1</a:t>
            </a:r>
          </a:p>
          <a:p>
            <a:pPr algn="just" defTabSz="457200">
              <a:spcBef>
                <a:spcPts val="0"/>
              </a:spcBef>
            </a:pPr>
            <a:r>
              <a:rPr lang="en-US" sz="1600">
                <a:latin typeface="Consolas" panose="020B0609020204030204" pitchFamily="49" charset="0"/>
              </a:rPr>
              <a:t>return Count</a:t>
            </a:r>
            <a:endParaRPr lang="en-US" sz="160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FCABCFE-EC34-4ADD-8B9F-04E489FB5CAD}"/>
              </a:ext>
            </a:extLst>
          </p:cNvPr>
          <p:cNvSpPr txBox="1"/>
          <p:nvPr/>
        </p:nvSpPr>
        <p:spPr>
          <a:xfrm>
            <a:off x="1270781" y="1731447"/>
            <a:ext cx="183255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ử dụng DFS:</a:t>
            </a:r>
          </a:p>
        </p:txBody>
      </p:sp>
    </p:spTree>
    <p:extLst>
      <p:ext uri="{BB962C8B-B14F-4D97-AF65-F5344CB8AC3E}">
        <p14:creationId xmlns:p14="http://schemas.microsoft.com/office/powerpoint/2010/main" val="19534093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500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500"/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6" dur="500"/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9" dur="500"/>
                                        <p:tgtEl>
                                          <p:spTgt spid="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2" dur="500"/>
                                        <p:tgtEl>
                                          <p:spTgt spid="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5" dur="500"/>
                                        <p:tgtEl>
                                          <p:spTgt spid="6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8" dur="500"/>
                                        <p:tgtEl>
                                          <p:spTgt spid="6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1" dur="500"/>
                                        <p:tgtEl>
                                          <p:spTgt spid="6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4" dur="500"/>
                                        <p:tgtEl>
                                          <p:spTgt spid="6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2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7885AB-B05A-4387-A3DB-FC45966724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446881"/>
            <a:ext cx="9144000" cy="2306637"/>
          </a:xfrm>
        </p:spPr>
        <p:txBody>
          <a:bodyPr/>
          <a:lstStyle/>
          <a:p>
            <a:r>
              <a:rPr lang="en-US" sz="5400">
                <a:latin typeface="Sitka Text Semibold" panose="020B0604020202020204" pitchFamily="2" charset="0"/>
              </a:rPr>
              <a:t>Cảm ơn thầy cô và các bạn</a:t>
            </a:r>
            <a:br>
              <a:rPr lang="en-US" sz="5400">
                <a:latin typeface="Sitka Text Semibold" panose="020B0604020202020204" pitchFamily="2" charset="0"/>
              </a:rPr>
            </a:br>
            <a:r>
              <a:rPr lang="en-US" sz="5400">
                <a:latin typeface="Sitka Text Semibold" panose="020B0604020202020204" pitchFamily="2" charset="0"/>
              </a:rPr>
              <a:t>đã lắng ngh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2B207E1-1BAD-4F5B-933C-895F010E150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1E984192-7B84-40CB-9CDD-B056C57F9986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43547" y="2849977"/>
            <a:ext cx="4254044" cy="38013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819435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 hidden="1">
            <a:extLst>
              <a:ext uri="{FF2B5EF4-FFF2-40B4-BE49-F238E27FC236}">
                <a16:creationId xmlns:a16="http://schemas.microsoft.com/office/drawing/2014/main" id="{6857C735-631F-4888-8542-16B6EC645A0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ubtitle 2" hidden="1">
            <a:extLst>
              <a:ext uri="{FF2B5EF4-FFF2-40B4-BE49-F238E27FC236}">
                <a16:creationId xmlns:a16="http://schemas.microsoft.com/office/drawing/2014/main" id="{96209265-E5C6-45B6-8F32-A7BBE1F3CD3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 descr="A picture containing text, indoor, person, standing&#10;&#10;Description automatically generated">
            <a:extLst>
              <a:ext uri="{FF2B5EF4-FFF2-40B4-BE49-F238E27FC236}">
                <a16:creationId xmlns:a16="http://schemas.microsoft.com/office/drawing/2014/main" id="{A42CFAAE-5517-4780-81EF-B5597226F61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3347" y="0"/>
            <a:ext cx="4665306" cy="68580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BD2AA68-E27E-4A6C-9C6A-8C2B3E14285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28956" y="5111269"/>
            <a:ext cx="876714" cy="300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95212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8292A9-EDC6-4C41-B864-82284745434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CDAD226-75A9-4427-80FE-319FE79D005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 descr="A person playing a piano&#10;&#10;Description automatically generated with low confidence">
            <a:extLst>
              <a:ext uri="{FF2B5EF4-FFF2-40B4-BE49-F238E27FC236}">
                <a16:creationId xmlns:a16="http://schemas.microsoft.com/office/drawing/2014/main" id="{0BA749C8-0339-4A97-8529-57FC1743E82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7000" y="0"/>
            <a:ext cx="6858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864847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44D860B3-E9A3-4E79-AF1F-5476FDBFB27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89963" y="715695"/>
            <a:ext cx="5412073" cy="5671852"/>
          </a:xfrm>
          <a:prstGeom prst="rect">
            <a:avLst/>
          </a:prstGeom>
        </p:spPr>
      </p:pic>
      <p:grpSp>
        <p:nvGrpSpPr>
          <p:cNvPr id="28" name="Group 27">
            <a:extLst>
              <a:ext uri="{FF2B5EF4-FFF2-40B4-BE49-F238E27FC236}">
                <a16:creationId xmlns:a16="http://schemas.microsoft.com/office/drawing/2014/main" id="{D3359718-9CFE-4993-9902-87E6ABB10200}"/>
              </a:ext>
            </a:extLst>
          </p:cNvPr>
          <p:cNvGrpSpPr/>
          <p:nvPr/>
        </p:nvGrpSpPr>
        <p:grpSpPr>
          <a:xfrm>
            <a:off x="2789205" y="2253094"/>
            <a:ext cx="2731300" cy="1173447"/>
            <a:chOff x="2789205" y="2253094"/>
            <a:chExt cx="2731300" cy="1173447"/>
          </a:xfrm>
        </p:grpSpPr>
        <p:pic>
          <p:nvPicPr>
            <p:cNvPr id="25" name="Graphic 24">
              <a:extLst>
                <a:ext uri="{FF2B5EF4-FFF2-40B4-BE49-F238E27FC236}">
                  <a16:creationId xmlns:a16="http://schemas.microsoft.com/office/drawing/2014/main" id="{118FB0D6-BC1E-46CC-8077-DB5990A46E1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789205" y="2253094"/>
              <a:ext cx="2731300" cy="1173447"/>
            </a:xfrm>
            <a:prstGeom prst="rect">
              <a:avLst/>
            </a:prstGeom>
          </p:spPr>
        </p:pic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300CF48E-9EA0-454B-BA22-1DDED1AC62EF}"/>
                </a:ext>
              </a:extLst>
            </p:cNvPr>
            <p:cNvSpPr txBox="1"/>
            <p:nvPr/>
          </p:nvSpPr>
          <p:spPr>
            <a:xfrm>
              <a:off x="3464150" y="2286863"/>
              <a:ext cx="155202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>
                  <a:solidFill>
                    <a:schemeClr val="bg1"/>
                  </a:solidFill>
                </a:rPr>
                <a:t>DECOMPOSING</a:t>
              </a: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3F0D2FF9-FBE8-4A60-BA2B-F6D37FCD340B}"/>
              </a:ext>
            </a:extLst>
          </p:cNvPr>
          <p:cNvGrpSpPr/>
          <p:nvPr/>
        </p:nvGrpSpPr>
        <p:grpSpPr>
          <a:xfrm>
            <a:off x="6767748" y="2090388"/>
            <a:ext cx="2731300" cy="1265235"/>
            <a:chOff x="6767748" y="2090388"/>
            <a:chExt cx="2731300" cy="1265235"/>
          </a:xfrm>
        </p:grpSpPr>
        <p:pic>
          <p:nvPicPr>
            <p:cNvPr id="32" name="Graphic 31">
              <a:extLst>
                <a:ext uri="{FF2B5EF4-FFF2-40B4-BE49-F238E27FC236}">
                  <a16:creationId xmlns:a16="http://schemas.microsoft.com/office/drawing/2014/main" id="{756B5286-319A-47F8-83A6-52839F5F6E6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6767748" y="2090388"/>
              <a:ext cx="2731300" cy="1265235"/>
            </a:xfrm>
            <a:prstGeom prst="rect">
              <a:avLst/>
            </a:prstGeom>
          </p:spPr>
        </p:pic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8B01613E-1883-4A7B-9A6E-F291EF0C5DFE}"/>
                </a:ext>
              </a:extLst>
            </p:cNvPr>
            <p:cNvSpPr txBox="1"/>
            <p:nvPr/>
          </p:nvSpPr>
          <p:spPr>
            <a:xfrm>
              <a:off x="7194884" y="2253094"/>
              <a:ext cx="150394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>
                  <a:solidFill>
                    <a:schemeClr val="bg1"/>
                  </a:solidFill>
                </a:rPr>
                <a:t>ABSTRACTION</a:t>
              </a: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EE302D1A-B083-42D7-B828-F0B93E71A0DA}"/>
              </a:ext>
            </a:extLst>
          </p:cNvPr>
          <p:cNvGrpSpPr/>
          <p:nvPr/>
        </p:nvGrpSpPr>
        <p:grpSpPr>
          <a:xfrm>
            <a:off x="1880058" y="4492438"/>
            <a:ext cx="2547563" cy="1265456"/>
            <a:chOff x="1880058" y="4492438"/>
            <a:chExt cx="2547563" cy="1265456"/>
          </a:xfrm>
        </p:grpSpPr>
        <p:pic>
          <p:nvPicPr>
            <p:cNvPr id="38" name="Graphic 37">
              <a:extLst>
                <a:ext uri="{FF2B5EF4-FFF2-40B4-BE49-F238E27FC236}">
                  <a16:creationId xmlns:a16="http://schemas.microsoft.com/office/drawing/2014/main" id="{0C776B08-F04C-48C6-B564-331EE2A18AF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1880058" y="4492438"/>
              <a:ext cx="2547563" cy="1265456"/>
            </a:xfrm>
            <a:prstGeom prst="rect">
              <a:avLst/>
            </a:prstGeom>
          </p:spPr>
        </p:pic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72B44F37-818D-471E-A685-9960ADCE5FA7}"/>
                </a:ext>
              </a:extLst>
            </p:cNvPr>
            <p:cNvSpPr txBox="1"/>
            <p:nvPr/>
          </p:nvSpPr>
          <p:spPr>
            <a:xfrm>
              <a:off x="2063686" y="4645434"/>
              <a:ext cx="1451038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>
                  <a:solidFill>
                    <a:schemeClr val="bg1"/>
                  </a:solidFill>
                </a:rPr>
                <a:t>PATTERN</a:t>
              </a:r>
            </a:p>
            <a:p>
              <a:r>
                <a:rPr lang="en-US">
                  <a:solidFill>
                    <a:schemeClr val="bg1"/>
                  </a:solidFill>
                </a:rPr>
                <a:t>RECOGNITION</a:t>
              </a: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16489743-66B8-44F6-B6B9-70336AB2B8AA}"/>
              </a:ext>
            </a:extLst>
          </p:cNvPr>
          <p:cNvGrpSpPr/>
          <p:nvPr/>
        </p:nvGrpSpPr>
        <p:grpSpPr>
          <a:xfrm>
            <a:off x="7194883" y="5310554"/>
            <a:ext cx="2587205" cy="1155293"/>
            <a:chOff x="7194883" y="5310554"/>
            <a:chExt cx="2587205" cy="1155293"/>
          </a:xfrm>
        </p:grpSpPr>
        <p:pic>
          <p:nvPicPr>
            <p:cNvPr id="46" name="Graphic 45">
              <a:extLst>
                <a:ext uri="{FF2B5EF4-FFF2-40B4-BE49-F238E27FC236}">
                  <a16:creationId xmlns:a16="http://schemas.microsoft.com/office/drawing/2014/main" id="{657545D8-1326-49F7-BC9F-77F4BBD2C1C5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7194883" y="5310554"/>
              <a:ext cx="2587205" cy="1155293"/>
            </a:xfrm>
            <a:prstGeom prst="rect">
              <a:avLst/>
            </a:prstGeom>
          </p:spPr>
        </p:pic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081621CC-720F-44FA-BE74-65560AB8D090}"/>
                </a:ext>
              </a:extLst>
            </p:cNvPr>
            <p:cNvSpPr txBox="1"/>
            <p:nvPr/>
          </p:nvSpPr>
          <p:spPr>
            <a:xfrm>
              <a:off x="7946857" y="5450117"/>
              <a:ext cx="137088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>
                  <a:solidFill>
                    <a:schemeClr val="bg1"/>
                  </a:solidFill>
                </a:rPr>
                <a:t>ALGORITHM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594613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2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8" presetClass="entr" presetSubtype="1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27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790A2B-6095-4F44-8EA0-3CC1EA22E5A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43580" y="1122361"/>
            <a:ext cx="9805149" cy="547411"/>
          </a:xfrm>
        </p:spPr>
        <p:txBody>
          <a:bodyPr/>
          <a:lstStyle/>
          <a:p>
            <a:r>
              <a:rPr lang="en-US" sz="4000"/>
              <a:t>Tại sao nên dùng computational thinking?</a:t>
            </a:r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D83F2473-26F6-4063-A874-B3FC9BFD22E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30191718"/>
              </p:ext>
            </p:extLst>
          </p:nvPr>
        </p:nvGraphicFramePr>
        <p:xfrm>
          <a:off x="1431235" y="2126241"/>
          <a:ext cx="9329530" cy="395650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BE3DCB1D-7405-485A-98A0-4D4705B2AF27}"/>
              </a:ext>
            </a:extLst>
          </p:cNvPr>
          <p:cNvSpPr/>
          <p:nvPr/>
        </p:nvSpPr>
        <p:spPr>
          <a:xfrm rot="5400000">
            <a:off x="-345132" y="1024277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04597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Graphic spid="5" grpId="0">
        <p:bldAsOne/>
      </p:bldGraphic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8" name="Group 77">
            <a:extLst>
              <a:ext uri="{FF2B5EF4-FFF2-40B4-BE49-F238E27FC236}">
                <a16:creationId xmlns:a16="http://schemas.microsoft.com/office/drawing/2014/main" id="{989A45C0-5855-41EA-90C8-19DA31057278}"/>
              </a:ext>
            </a:extLst>
          </p:cNvPr>
          <p:cNvGrpSpPr/>
          <p:nvPr/>
        </p:nvGrpSpPr>
        <p:grpSpPr>
          <a:xfrm>
            <a:off x="1484667" y="4062885"/>
            <a:ext cx="10021533" cy="2367098"/>
            <a:chOff x="1484667" y="4062885"/>
            <a:chExt cx="10021533" cy="2367098"/>
          </a:xfrm>
        </p:grpSpPr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E91F0334-3246-4E6A-9DDE-45C38FCCF00A}"/>
                </a:ext>
              </a:extLst>
            </p:cNvPr>
            <p:cNvGrpSpPr/>
            <p:nvPr/>
          </p:nvGrpSpPr>
          <p:grpSpPr>
            <a:xfrm>
              <a:off x="1484667" y="4062885"/>
              <a:ext cx="10021533" cy="2367098"/>
              <a:chOff x="1484667" y="4062885"/>
              <a:chExt cx="10021533" cy="2367098"/>
            </a:xfrm>
          </p:grpSpPr>
          <p:pic>
            <p:nvPicPr>
              <p:cNvPr id="37" name="Graphic 36">
                <a:extLst>
                  <a:ext uri="{FF2B5EF4-FFF2-40B4-BE49-F238E27FC236}">
                    <a16:creationId xmlns:a16="http://schemas.microsoft.com/office/drawing/2014/main" id="{68CF3432-3970-47B2-BB1B-EF45C740758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1484667" y="4062885"/>
                <a:ext cx="1928798" cy="790575"/>
              </a:xfrm>
              <a:prstGeom prst="rect">
                <a:avLst/>
              </a:prstGeom>
            </p:spPr>
          </p:pic>
          <p:pic>
            <p:nvPicPr>
              <p:cNvPr id="61" name="Graphic 60">
                <a:extLst>
                  <a:ext uri="{FF2B5EF4-FFF2-40B4-BE49-F238E27FC236}">
                    <a16:creationId xmlns:a16="http://schemas.microsoft.com/office/drawing/2014/main" id="{A44E6DC6-8830-435F-B3D0-340CC1060BD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3432543" y="4549667"/>
                <a:ext cx="1351477" cy="1880316"/>
              </a:xfrm>
              <a:prstGeom prst="rect">
                <a:avLst/>
              </a:prstGeom>
            </p:spPr>
          </p:pic>
          <p:sp>
            <p:nvSpPr>
              <p:cNvPr id="64" name="Pentagon 41">
                <a:extLst>
                  <a:ext uri="{FF2B5EF4-FFF2-40B4-BE49-F238E27FC236}">
                    <a16:creationId xmlns:a16="http://schemas.microsoft.com/office/drawing/2014/main" id="{EF0C814F-D138-4E01-92E8-3CFD803B967B}"/>
                  </a:ext>
                </a:extLst>
              </p:cNvPr>
              <p:cNvSpPr/>
              <p:nvPr/>
            </p:nvSpPr>
            <p:spPr>
              <a:xfrm>
                <a:off x="4809698" y="5720432"/>
                <a:ext cx="6696502" cy="709551"/>
              </a:xfrm>
              <a:prstGeom prst="homePlate">
                <a:avLst>
                  <a:gd name="adj" fmla="val 71158"/>
                </a:avLst>
              </a:prstGeom>
              <a:solidFill>
                <a:srgbClr val="35353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85750" marR="0" lvl="0" indent="-2857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20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V.v</a:t>
                </a:r>
                <a:endPara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003759C5-4B67-4459-83E6-18F653EEDB0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558102" y="5791321"/>
              <a:ext cx="567771" cy="56777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4000" dirty="0">
                  <a:solidFill>
                    <a:srgbClr val="464646"/>
                  </a:solidFill>
                  <a:latin typeface="Calibri"/>
                </a:rPr>
                <a:t>7</a:t>
              </a:r>
              <a:endPara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rgbClr val="464646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C7A9DEE0-3066-4B6E-97AC-2C77B3EE2F57}"/>
              </a:ext>
            </a:extLst>
          </p:cNvPr>
          <p:cNvGrpSpPr/>
          <p:nvPr/>
        </p:nvGrpSpPr>
        <p:grpSpPr>
          <a:xfrm>
            <a:off x="1962713" y="1181417"/>
            <a:ext cx="9543487" cy="1500990"/>
            <a:chOff x="1962713" y="1181417"/>
            <a:chExt cx="9543487" cy="1500990"/>
          </a:xfrm>
        </p:grpSpPr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34ECE77C-0535-4577-9E6E-B50504C0E219}"/>
                </a:ext>
              </a:extLst>
            </p:cNvPr>
            <p:cNvGrpSpPr/>
            <p:nvPr/>
          </p:nvGrpSpPr>
          <p:grpSpPr>
            <a:xfrm>
              <a:off x="1962713" y="1181417"/>
              <a:ext cx="9543487" cy="1500990"/>
              <a:chOff x="1962713" y="1181417"/>
              <a:chExt cx="9543487" cy="1500990"/>
            </a:xfrm>
          </p:grpSpPr>
          <p:sp>
            <p:nvSpPr>
              <p:cNvPr id="18" name="ShapeNameChangedByPowerUser6"/>
              <p:cNvSpPr/>
              <p:nvPr/>
            </p:nvSpPr>
            <p:spPr>
              <a:xfrm rot="10800000">
                <a:off x="1962713" y="2358131"/>
                <a:ext cx="1444388" cy="324276"/>
              </a:xfrm>
              <a:prstGeom prst="homePlate">
                <a:avLst>
                  <a:gd name="adj" fmla="val 71158"/>
                </a:avLst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" name="Pentagon 5"/>
              <p:cNvSpPr/>
              <p:nvPr/>
            </p:nvSpPr>
            <p:spPr>
              <a:xfrm>
                <a:off x="4809698" y="1181417"/>
                <a:ext cx="6696502" cy="709551"/>
              </a:xfrm>
              <a:prstGeom prst="homePlate">
                <a:avLst>
                  <a:gd name="adj" fmla="val 71158"/>
                </a:avLst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85750" marR="0" lvl="0" indent="-2857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lang="en-US" sz="2000">
                    <a:solidFill>
                      <a:prstClr val="white"/>
                    </a:solidFill>
                    <a:latin typeface="Calibri"/>
                  </a:rPr>
                  <a:t>Brute-force</a:t>
                </a:r>
                <a:endPara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1" name="Freeform 30"/>
              <p:cNvSpPr/>
              <p:nvPr/>
            </p:nvSpPr>
            <p:spPr>
              <a:xfrm>
                <a:off x="3426011" y="1194801"/>
                <a:ext cx="1364400" cy="1487606"/>
              </a:xfrm>
              <a:custGeom>
                <a:avLst/>
                <a:gdLst>
                  <a:gd name="connsiteX0" fmla="*/ 1364776 w 1364776"/>
                  <a:gd name="connsiteY0" fmla="*/ 0 h 1487606"/>
                  <a:gd name="connsiteX1" fmla="*/ 1364776 w 1364776"/>
                  <a:gd name="connsiteY1" fmla="*/ 709684 h 1487606"/>
                  <a:gd name="connsiteX2" fmla="*/ 0 w 1364776"/>
                  <a:gd name="connsiteY2" fmla="*/ 1487606 h 1487606"/>
                  <a:gd name="connsiteX3" fmla="*/ 0 w 1364776"/>
                  <a:gd name="connsiteY3" fmla="*/ 1160060 h 1487606"/>
                  <a:gd name="connsiteX4" fmla="*/ 1364776 w 1364776"/>
                  <a:gd name="connsiteY4" fmla="*/ 0 h 14876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64776" h="1487606">
                    <a:moveTo>
                      <a:pt x="1364776" y="0"/>
                    </a:moveTo>
                    <a:lnTo>
                      <a:pt x="1364776" y="709684"/>
                    </a:lnTo>
                    <a:lnTo>
                      <a:pt x="0" y="1487606"/>
                    </a:lnTo>
                    <a:lnTo>
                      <a:pt x="0" y="1160060"/>
                    </a:lnTo>
                    <a:lnTo>
                      <a:pt x="1364776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50" name="Oval 49"/>
            <p:cNvSpPr>
              <a:spLocks noChangeAspect="1"/>
            </p:cNvSpPr>
            <p:nvPr/>
          </p:nvSpPr>
          <p:spPr>
            <a:xfrm>
              <a:off x="10530204" y="1242304"/>
              <a:ext cx="567771" cy="56777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0" cap="none" spc="0" normalizeH="0" baseline="0" noProof="0" dirty="0">
                  <a:ln>
                    <a:noFill/>
                  </a:ln>
                  <a:solidFill>
                    <a:srgbClr val="2DA2B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</a:t>
              </a:r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9DFCC6E5-FE02-49C5-957A-33167B3168B0}"/>
              </a:ext>
            </a:extLst>
          </p:cNvPr>
          <p:cNvGrpSpPr/>
          <p:nvPr/>
        </p:nvGrpSpPr>
        <p:grpSpPr>
          <a:xfrm>
            <a:off x="1962544" y="1953555"/>
            <a:ext cx="9543656" cy="1105270"/>
            <a:chOff x="1962544" y="1953555"/>
            <a:chExt cx="9543656" cy="1105270"/>
          </a:xfrm>
        </p:grpSpPr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001C32E3-3D88-475E-B74A-B1DDF680F931}"/>
                </a:ext>
              </a:extLst>
            </p:cNvPr>
            <p:cNvGrpSpPr/>
            <p:nvPr/>
          </p:nvGrpSpPr>
          <p:grpSpPr>
            <a:xfrm>
              <a:off x="1962544" y="1953555"/>
              <a:ext cx="9543656" cy="1105270"/>
              <a:chOff x="1962544" y="1953555"/>
              <a:chExt cx="9543656" cy="1105270"/>
            </a:xfrm>
          </p:grpSpPr>
          <p:sp>
            <p:nvSpPr>
              <p:cNvPr id="19" name="ShapeNameChangedByPowerUser5"/>
              <p:cNvSpPr/>
              <p:nvPr/>
            </p:nvSpPr>
            <p:spPr>
              <a:xfrm rot="10800000">
                <a:off x="1962544" y="2734549"/>
                <a:ext cx="1444388" cy="324276"/>
              </a:xfrm>
              <a:prstGeom prst="homePlate">
                <a:avLst>
                  <a:gd name="adj" fmla="val 71158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3" name="Pentagon 12"/>
              <p:cNvSpPr/>
              <p:nvPr/>
            </p:nvSpPr>
            <p:spPr>
              <a:xfrm>
                <a:off x="4809698" y="1953555"/>
                <a:ext cx="6696502" cy="709551"/>
              </a:xfrm>
              <a:prstGeom prst="homePlate">
                <a:avLst>
                  <a:gd name="adj" fmla="val 71158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85750" marR="0" lvl="0" indent="-2857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lang="en-US" sz="2000">
                    <a:solidFill>
                      <a:prstClr val="white"/>
                    </a:solidFill>
                    <a:latin typeface="Calibri"/>
                  </a:rPr>
                  <a:t>Divide and Conquer</a:t>
                </a:r>
                <a:endPara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4" name="Freeform 33"/>
              <p:cNvSpPr/>
              <p:nvPr/>
            </p:nvSpPr>
            <p:spPr>
              <a:xfrm>
                <a:off x="3426011" y="1959602"/>
                <a:ext cx="1364400" cy="1095565"/>
              </a:xfrm>
              <a:custGeom>
                <a:avLst/>
                <a:gdLst>
                  <a:gd name="connsiteX0" fmla="*/ 1351128 w 1351128"/>
                  <a:gd name="connsiteY0" fmla="*/ 0 h 1105468"/>
                  <a:gd name="connsiteX1" fmla="*/ 1351128 w 1351128"/>
                  <a:gd name="connsiteY1" fmla="*/ 696036 h 1105468"/>
                  <a:gd name="connsiteX2" fmla="*/ 0 w 1351128"/>
                  <a:gd name="connsiteY2" fmla="*/ 1105468 h 1105468"/>
                  <a:gd name="connsiteX3" fmla="*/ 0 w 1351128"/>
                  <a:gd name="connsiteY3" fmla="*/ 777922 h 1105468"/>
                  <a:gd name="connsiteX4" fmla="*/ 1351128 w 1351128"/>
                  <a:gd name="connsiteY4" fmla="*/ 0 h 11054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51128" h="1105468">
                    <a:moveTo>
                      <a:pt x="1351128" y="0"/>
                    </a:moveTo>
                    <a:lnTo>
                      <a:pt x="1351128" y="696036"/>
                    </a:lnTo>
                    <a:lnTo>
                      <a:pt x="0" y="1105468"/>
                    </a:lnTo>
                    <a:lnTo>
                      <a:pt x="0" y="777922"/>
                    </a:lnTo>
                    <a:lnTo>
                      <a:pt x="1351128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51" name="Oval 50"/>
            <p:cNvSpPr>
              <a:spLocks noChangeAspect="1"/>
            </p:cNvSpPr>
            <p:nvPr/>
          </p:nvSpPr>
          <p:spPr>
            <a:xfrm>
              <a:off x="10530204" y="2024444"/>
              <a:ext cx="567771" cy="56777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0" cap="none" spc="0" normalizeH="0" baseline="0" noProof="0" dirty="0">
                  <a:ln>
                    <a:noFill/>
                  </a:ln>
                  <a:solidFill>
                    <a:srgbClr val="DA1F28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</a:t>
              </a:r>
            </a:p>
          </p:txBody>
        </p:sp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F90D864D-F783-4D0C-B353-1C836B6977B8}"/>
              </a:ext>
            </a:extLst>
          </p:cNvPr>
          <p:cNvGrpSpPr/>
          <p:nvPr/>
        </p:nvGrpSpPr>
        <p:grpSpPr>
          <a:xfrm>
            <a:off x="1962375" y="2704427"/>
            <a:ext cx="9543825" cy="709551"/>
            <a:chOff x="1962375" y="2704427"/>
            <a:chExt cx="9543825" cy="709551"/>
          </a:xfrm>
        </p:grpSpPr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87AC3368-C62A-47C9-8552-E395F61F015E}"/>
                </a:ext>
              </a:extLst>
            </p:cNvPr>
            <p:cNvGrpSpPr/>
            <p:nvPr/>
          </p:nvGrpSpPr>
          <p:grpSpPr>
            <a:xfrm>
              <a:off x="1962375" y="2704427"/>
              <a:ext cx="9543825" cy="709551"/>
              <a:chOff x="1962375" y="2704427"/>
              <a:chExt cx="9543825" cy="709551"/>
            </a:xfrm>
          </p:grpSpPr>
          <p:sp>
            <p:nvSpPr>
              <p:cNvPr id="20" name="ShapeNameChangedByPowerUser4"/>
              <p:cNvSpPr/>
              <p:nvPr/>
            </p:nvSpPr>
            <p:spPr>
              <a:xfrm rot="10800000">
                <a:off x="1962375" y="3089701"/>
                <a:ext cx="1444388" cy="324276"/>
              </a:xfrm>
              <a:prstGeom prst="homePlate">
                <a:avLst>
                  <a:gd name="adj" fmla="val 71158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4" name="Pentagon 13"/>
              <p:cNvSpPr/>
              <p:nvPr/>
            </p:nvSpPr>
            <p:spPr>
              <a:xfrm>
                <a:off x="4809698" y="2704427"/>
                <a:ext cx="6696502" cy="709551"/>
              </a:xfrm>
              <a:prstGeom prst="homePlate">
                <a:avLst>
                  <a:gd name="adj" fmla="val 71158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85750" marR="0" lvl="0" indent="-2857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lang="en-US" sz="2000">
                    <a:solidFill>
                      <a:prstClr val="white"/>
                    </a:solidFill>
                    <a:latin typeface="Calibri"/>
                  </a:rPr>
                  <a:t>Greedy</a:t>
                </a:r>
                <a:endPara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8" name="Freeform 37"/>
              <p:cNvSpPr/>
              <p:nvPr/>
            </p:nvSpPr>
            <p:spPr>
              <a:xfrm>
                <a:off x="3432544" y="2712450"/>
                <a:ext cx="1350335" cy="701528"/>
              </a:xfrm>
              <a:custGeom>
                <a:avLst/>
                <a:gdLst>
                  <a:gd name="connsiteX0" fmla="*/ 1350335 w 1350335"/>
                  <a:gd name="connsiteY0" fmla="*/ 0 h 691116"/>
                  <a:gd name="connsiteX1" fmla="*/ 1350335 w 1350335"/>
                  <a:gd name="connsiteY1" fmla="*/ 691116 h 691116"/>
                  <a:gd name="connsiteX2" fmla="*/ 0 w 1350335"/>
                  <a:gd name="connsiteY2" fmla="*/ 691116 h 691116"/>
                  <a:gd name="connsiteX3" fmla="*/ 0 w 1350335"/>
                  <a:gd name="connsiteY3" fmla="*/ 382772 h 691116"/>
                  <a:gd name="connsiteX4" fmla="*/ 1350335 w 1350335"/>
                  <a:gd name="connsiteY4" fmla="*/ 0 h 6911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50335" h="691116">
                    <a:moveTo>
                      <a:pt x="1350335" y="0"/>
                    </a:moveTo>
                    <a:lnTo>
                      <a:pt x="1350335" y="691116"/>
                    </a:lnTo>
                    <a:lnTo>
                      <a:pt x="0" y="691116"/>
                    </a:lnTo>
                    <a:lnTo>
                      <a:pt x="0" y="382772"/>
                    </a:lnTo>
                    <a:lnTo>
                      <a:pt x="1350335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52" name="Oval 51"/>
            <p:cNvSpPr>
              <a:spLocks noChangeAspect="1"/>
            </p:cNvSpPr>
            <p:nvPr/>
          </p:nvSpPr>
          <p:spPr>
            <a:xfrm>
              <a:off x="10530204" y="2775667"/>
              <a:ext cx="567771" cy="56777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0" cap="none" spc="0" normalizeH="0" baseline="0" noProof="0" dirty="0">
                  <a:ln>
                    <a:noFill/>
                  </a:ln>
                  <a:solidFill>
                    <a:srgbClr val="EB641B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3</a:t>
              </a:r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1413737B-4BC5-4E45-AAFD-63E8BF1933E4}"/>
              </a:ext>
            </a:extLst>
          </p:cNvPr>
          <p:cNvGrpSpPr/>
          <p:nvPr/>
        </p:nvGrpSpPr>
        <p:grpSpPr>
          <a:xfrm>
            <a:off x="1962375" y="3444021"/>
            <a:ext cx="9543825" cy="709551"/>
            <a:chOff x="1962375" y="3444021"/>
            <a:chExt cx="9543825" cy="709551"/>
          </a:xfrm>
        </p:grpSpPr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EA362F26-11CD-4D5B-84F5-AF96B384144D}"/>
                </a:ext>
              </a:extLst>
            </p:cNvPr>
            <p:cNvGrpSpPr/>
            <p:nvPr/>
          </p:nvGrpSpPr>
          <p:grpSpPr>
            <a:xfrm>
              <a:off x="1962375" y="3444021"/>
              <a:ext cx="9543825" cy="709551"/>
              <a:chOff x="1962375" y="3444021"/>
              <a:chExt cx="9543825" cy="709551"/>
            </a:xfrm>
          </p:grpSpPr>
          <p:sp>
            <p:nvSpPr>
              <p:cNvPr id="41" name="ShapeNameChangedByPowerUser4"/>
              <p:cNvSpPr/>
              <p:nvPr/>
            </p:nvSpPr>
            <p:spPr>
              <a:xfrm rot="10800000" flipV="1">
                <a:off x="1962375" y="3444022"/>
                <a:ext cx="1444388" cy="324276"/>
              </a:xfrm>
              <a:prstGeom prst="homePlate">
                <a:avLst>
                  <a:gd name="adj" fmla="val 71158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4" name="Pentagon 43"/>
              <p:cNvSpPr/>
              <p:nvPr/>
            </p:nvSpPr>
            <p:spPr>
              <a:xfrm>
                <a:off x="4809698" y="3444021"/>
                <a:ext cx="6696502" cy="709551"/>
              </a:xfrm>
              <a:prstGeom prst="homePlate">
                <a:avLst>
                  <a:gd name="adj" fmla="val 71158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85750" marR="0" lvl="0" indent="-2857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lang="en-US" sz="2000">
                    <a:solidFill>
                      <a:prstClr val="white"/>
                    </a:solidFill>
                    <a:latin typeface="Calibri"/>
                  </a:rPr>
                  <a:t>Dynamic</a:t>
                </a:r>
                <a:endPara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7" name="Freeform 46"/>
              <p:cNvSpPr/>
              <p:nvPr/>
            </p:nvSpPr>
            <p:spPr>
              <a:xfrm flipV="1">
                <a:off x="3432544" y="3444021"/>
                <a:ext cx="1350335" cy="701528"/>
              </a:xfrm>
              <a:custGeom>
                <a:avLst/>
                <a:gdLst>
                  <a:gd name="connsiteX0" fmla="*/ 1350335 w 1350335"/>
                  <a:gd name="connsiteY0" fmla="*/ 0 h 691116"/>
                  <a:gd name="connsiteX1" fmla="*/ 1350335 w 1350335"/>
                  <a:gd name="connsiteY1" fmla="*/ 691116 h 691116"/>
                  <a:gd name="connsiteX2" fmla="*/ 0 w 1350335"/>
                  <a:gd name="connsiteY2" fmla="*/ 691116 h 691116"/>
                  <a:gd name="connsiteX3" fmla="*/ 0 w 1350335"/>
                  <a:gd name="connsiteY3" fmla="*/ 382772 h 691116"/>
                  <a:gd name="connsiteX4" fmla="*/ 1350335 w 1350335"/>
                  <a:gd name="connsiteY4" fmla="*/ 0 h 6911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50335" h="691116">
                    <a:moveTo>
                      <a:pt x="1350335" y="0"/>
                    </a:moveTo>
                    <a:lnTo>
                      <a:pt x="1350335" y="691116"/>
                    </a:lnTo>
                    <a:lnTo>
                      <a:pt x="0" y="691116"/>
                    </a:lnTo>
                    <a:lnTo>
                      <a:pt x="0" y="382772"/>
                    </a:lnTo>
                    <a:lnTo>
                      <a:pt x="1350335" y="0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53" name="Oval 52"/>
            <p:cNvSpPr>
              <a:spLocks noChangeAspect="1"/>
            </p:cNvSpPr>
            <p:nvPr/>
          </p:nvSpPr>
          <p:spPr>
            <a:xfrm>
              <a:off x="10530204" y="3518946"/>
              <a:ext cx="567771" cy="56777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0" cap="none" spc="0" normalizeH="0" baseline="0" noProof="0" dirty="0">
                  <a:ln>
                    <a:noFill/>
                  </a:ln>
                  <a:solidFill>
                    <a:srgbClr val="39639D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4</a:t>
              </a:r>
            </a:p>
          </p:txBody>
        </p:sp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6C7B012E-A1C4-41CF-AE32-A6D63144C2F1}"/>
              </a:ext>
            </a:extLst>
          </p:cNvPr>
          <p:cNvGrpSpPr/>
          <p:nvPr/>
        </p:nvGrpSpPr>
        <p:grpSpPr>
          <a:xfrm>
            <a:off x="1962544" y="3799174"/>
            <a:ext cx="9543656" cy="1115903"/>
            <a:chOff x="1962544" y="3799174"/>
            <a:chExt cx="9543656" cy="1115903"/>
          </a:xfrm>
        </p:grpSpPr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5D8319E8-C8B6-4873-9BEF-8463150AD9B1}"/>
                </a:ext>
              </a:extLst>
            </p:cNvPr>
            <p:cNvGrpSpPr/>
            <p:nvPr/>
          </p:nvGrpSpPr>
          <p:grpSpPr>
            <a:xfrm>
              <a:off x="1962544" y="3799174"/>
              <a:ext cx="9543656" cy="1115903"/>
              <a:chOff x="1962544" y="3799174"/>
              <a:chExt cx="9543656" cy="1115903"/>
            </a:xfrm>
          </p:grpSpPr>
          <p:sp>
            <p:nvSpPr>
              <p:cNvPr id="40" name="ShapeNameChangedByPowerUser5"/>
              <p:cNvSpPr/>
              <p:nvPr/>
            </p:nvSpPr>
            <p:spPr>
              <a:xfrm rot="10800000" flipV="1">
                <a:off x="1962544" y="3799174"/>
                <a:ext cx="1444388" cy="324276"/>
              </a:xfrm>
              <a:prstGeom prst="homePlate">
                <a:avLst>
                  <a:gd name="adj" fmla="val 71158"/>
                </a:avLst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3" name="Pentagon 42"/>
              <p:cNvSpPr/>
              <p:nvPr/>
            </p:nvSpPr>
            <p:spPr>
              <a:xfrm>
                <a:off x="4809698" y="4205526"/>
                <a:ext cx="6696502" cy="709551"/>
              </a:xfrm>
              <a:prstGeom prst="homePlate">
                <a:avLst>
                  <a:gd name="adj" fmla="val 71158"/>
                </a:avLst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85750" marR="0" lvl="0" indent="-2857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lang="en-US" sz="2000">
                    <a:solidFill>
                      <a:prstClr val="white"/>
                    </a:solidFill>
                    <a:latin typeface="Calibri"/>
                  </a:rPr>
                  <a:t>Branch and Bound	</a:t>
                </a:r>
                <a:endPara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6" name="Freeform 45"/>
              <p:cNvSpPr/>
              <p:nvPr/>
            </p:nvSpPr>
            <p:spPr>
              <a:xfrm flipV="1">
                <a:off x="3426011" y="3802832"/>
                <a:ext cx="1364400" cy="1095565"/>
              </a:xfrm>
              <a:custGeom>
                <a:avLst/>
                <a:gdLst>
                  <a:gd name="connsiteX0" fmla="*/ 1351128 w 1351128"/>
                  <a:gd name="connsiteY0" fmla="*/ 0 h 1105468"/>
                  <a:gd name="connsiteX1" fmla="*/ 1351128 w 1351128"/>
                  <a:gd name="connsiteY1" fmla="*/ 696036 h 1105468"/>
                  <a:gd name="connsiteX2" fmla="*/ 0 w 1351128"/>
                  <a:gd name="connsiteY2" fmla="*/ 1105468 h 1105468"/>
                  <a:gd name="connsiteX3" fmla="*/ 0 w 1351128"/>
                  <a:gd name="connsiteY3" fmla="*/ 777922 h 1105468"/>
                  <a:gd name="connsiteX4" fmla="*/ 1351128 w 1351128"/>
                  <a:gd name="connsiteY4" fmla="*/ 0 h 11054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51128" h="1105468">
                    <a:moveTo>
                      <a:pt x="1351128" y="0"/>
                    </a:moveTo>
                    <a:lnTo>
                      <a:pt x="1351128" y="696036"/>
                    </a:lnTo>
                    <a:lnTo>
                      <a:pt x="0" y="1105468"/>
                    </a:lnTo>
                    <a:lnTo>
                      <a:pt x="0" y="777922"/>
                    </a:lnTo>
                    <a:lnTo>
                      <a:pt x="1351128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54" name="Oval 53"/>
            <p:cNvSpPr>
              <a:spLocks noChangeAspect="1"/>
            </p:cNvSpPr>
            <p:nvPr/>
          </p:nvSpPr>
          <p:spPr>
            <a:xfrm>
              <a:off x="10530204" y="4265782"/>
              <a:ext cx="567771" cy="56777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0" cap="none" spc="0" normalizeH="0" baseline="0" noProof="0" dirty="0">
                  <a:ln>
                    <a:noFill/>
                  </a:ln>
                  <a:solidFill>
                    <a:srgbClr val="474B78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5</a:t>
              </a:r>
            </a:p>
          </p:txBody>
        </p: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A37A5817-44FC-4F12-83E5-5E4BA446FD1E}"/>
              </a:ext>
            </a:extLst>
          </p:cNvPr>
          <p:cNvGrpSpPr/>
          <p:nvPr/>
        </p:nvGrpSpPr>
        <p:grpSpPr>
          <a:xfrm>
            <a:off x="1962713" y="4175592"/>
            <a:ext cx="9543487" cy="1500990"/>
            <a:chOff x="1962713" y="4175592"/>
            <a:chExt cx="9543487" cy="1500990"/>
          </a:xfrm>
        </p:grpSpPr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AD850A3C-7CBA-487C-B1FD-084D3B8762FB}"/>
                </a:ext>
              </a:extLst>
            </p:cNvPr>
            <p:cNvGrpSpPr/>
            <p:nvPr/>
          </p:nvGrpSpPr>
          <p:grpSpPr>
            <a:xfrm>
              <a:off x="1962713" y="4175592"/>
              <a:ext cx="9543487" cy="1500990"/>
              <a:chOff x="1962713" y="4175592"/>
              <a:chExt cx="9543487" cy="1500990"/>
            </a:xfrm>
          </p:grpSpPr>
          <p:sp>
            <p:nvSpPr>
              <p:cNvPr id="45" name="Freeform 44"/>
              <p:cNvSpPr/>
              <p:nvPr/>
            </p:nvSpPr>
            <p:spPr>
              <a:xfrm flipV="1">
                <a:off x="3426011" y="4175592"/>
                <a:ext cx="1364400" cy="1500990"/>
              </a:xfrm>
              <a:custGeom>
                <a:avLst/>
                <a:gdLst>
                  <a:gd name="connsiteX0" fmla="*/ 1364776 w 1364776"/>
                  <a:gd name="connsiteY0" fmla="*/ 0 h 1487606"/>
                  <a:gd name="connsiteX1" fmla="*/ 1364776 w 1364776"/>
                  <a:gd name="connsiteY1" fmla="*/ 709684 h 1487606"/>
                  <a:gd name="connsiteX2" fmla="*/ 0 w 1364776"/>
                  <a:gd name="connsiteY2" fmla="*/ 1487606 h 1487606"/>
                  <a:gd name="connsiteX3" fmla="*/ 0 w 1364776"/>
                  <a:gd name="connsiteY3" fmla="*/ 1160060 h 1487606"/>
                  <a:gd name="connsiteX4" fmla="*/ 1364776 w 1364776"/>
                  <a:gd name="connsiteY4" fmla="*/ 0 h 14876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64776" h="1487606">
                    <a:moveTo>
                      <a:pt x="1364776" y="0"/>
                    </a:moveTo>
                    <a:lnTo>
                      <a:pt x="1364776" y="709684"/>
                    </a:lnTo>
                    <a:lnTo>
                      <a:pt x="0" y="1487606"/>
                    </a:lnTo>
                    <a:lnTo>
                      <a:pt x="0" y="1160060"/>
                    </a:lnTo>
                    <a:lnTo>
                      <a:pt x="1364776" y="0"/>
                    </a:lnTo>
                    <a:close/>
                  </a:path>
                </a:pathLst>
              </a:custGeom>
              <a:solidFill>
                <a:schemeClr val="accent6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9" name="ShapeNameChangedByPowerUser6"/>
              <p:cNvSpPr/>
              <p:nvPr/>
            </p:nvSpPr>
            <p:spPr>
              <a:xfrm rot="10800000" flipV="1">
                <a:off x="1962713" y="4175592"/>
                <a:ext cx="1444388" cy="324276"/>
              </a:xfrm>
              <a:prstGeom prst="homePlate">
                <a:avLst>
                  <a:gd name="adj" fmla="val 71158"/>
                </a:avLst>
              </a:prstGeom>
              <a:solidFill>
                <a:schemeClr val="accent6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highlight>
                    <a:srgbClr val="FFFF00"/>
                  </a:highlight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2" name="Pentagon 41"/>
              <p:cNvSpPr/>
              <p:nvPr/>
            </p:nvSpPr>
            <p:spPr>
              <a:xfrm>
                <a:off x="4809698" y="4967031"/>
                <a:ext cx="6696502" cy="709551"/>
              </a:xfrm>
              <a:prstGeom prst="homePlate">
                <a:avLst>
                  <a:gd name="adj" fmla="val 71158"/>
                </a:avLst>
              </a:prstGeom>
              <a:solidFill>
                <a:schemeClr val="accent6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85750" marR="0" lvl="0" indent="-2857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lang="en-US" sz="2000">
                    <a:solidFill>
                      <a:prstClr val="white"/>
                    </a:solidFill>
                    <a:latin typeface="Calibri"/>
                  </a:rPr>
                  <a:t>Backtracking</a:t>
                </a:r>
                <a:endPara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55" name="Oval 54"/>
            <p:cNvSpPr>
              <a:spLocks noChangeAspect="1"/>
            </p:cNvSpPr>
            <p:nvPr/>
          </p:nvSpPr>
          <p:spPr>
            <a:xfrm>
              <a:off x="10530204" y="5037920"/>
              <a:ext cx="567771" cy="56777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0" cap="none" spc="0" normalizeH="0" baseline="0" noProof="0" dirty="0">
                  <a:ln>
                    <a:noFill/>
                  </a:ln>
                  <a:solidFill>
                    <a:srgbClr val="464646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6</a:t>
              </a:r>
            </a:p>
          </p:txBody>
        </p:sp>
      </p:grpSp>
      <p:sp>
        <p:nvSpPr>
          <p:cNvPr id="4" name="ShapeNameChangedByPowerUser1"/>
          <p:cNvSpPr>
            <a:spLocks noChangeAspect="1"/>
          </p:cNvSpPr>
          <p:nvPr/>
        </p:nvSpPr>
        <p:spPr>
          <a:xfrm>
            <a:off x="5323209" y="1558848"/>
            <a:ext cx="1960098" cy="1960098"/>
          </a:xfrm>
          <a:prstGeom prst="ellipse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>
                <a:solidFill>
                  <a:schemeClr val="tx1">
                    <a:lumMod val="50000"/>
                  </a:schemeClr>
                </a:solidFill>
                <a:latin typeface="Calibri"/>
              </a:rPr>
              <a:t>Algorithm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>
                <a:solidFill>
                  <a:schemeClr val="tx1">
                    <a:lumMod val="50000"/>
                  </a:schemeClr>
                </a:solidFill>
                <a:latin typeface="Calibri"/>
              </a:rPr>
              <a:t>Desig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echniques</a:t>
            </a: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18F646D-6C82-4D49-B85F-6C7C7D28A419}"/>
              </a:ext>
            </a:extLst>
          </p:cNvPr>
          <p:cNvSpPr txBox="1"/>
          <p:nvPr/>
        </p:nvSpPr>
        <p:spPr>
          <a:xfrm>
            <a:off x="3579926" y="530953"/>
            <a:ext cx="503214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 SỐ THUẬT TOÁN THƯỜNG GẶP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68778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path" presetSubtype="0" accel="50000" decel="5000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078 -0.0007 L -0.35599 0.13148 " pathEditMode="relative" rAng="0" ptsTypes="AA">
                                      <p:cBhvr>
                                        <p:cTn id="11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760" y="6597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1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6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4" grpId="1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790A2B-6095-4F44-8EA0-3CC1EA22E5A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33671" y="1122361"/>
            <a:ext cx="1934816" cy="547411"/>
          </a:xfrm>
        </p:spPr>
        <p:txBody>
          <a:bodyPr/>
          <a:lstStyle/>
          <a:p>
            <a:r>
              <a:rPr lang="en-US" sz="4000"/>
              <a:t>Bài 1: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07F680F-F140-40F4-BE08-2A125B8CE82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773238"/>
            <a:ext cx="9144000" cy="2308433"/>
          </a:xfrm>
        </p:spPr>
        <p:txBody>
          <a:bodyPr/>
          <a:lstStyle/>
          <a:p>
            <a:pPr algn="l"/>
            <a:r>
              <a:rPr lang="vi-VN" b="0" i="0"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Vào dịp tết nguyên đán, 2 anh em nhà Tèo được mẹ cho 1 số tiền đi chơi tết, mẹ vừa </a:t>
            </a:r>
            <a:r>
              <a:rPr lang="en-US" b="0" i="0"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chuẩn bị một số tiền </a:t>
            </a:r>
            <a:r>
              <a:rPr lang="vi-VN" b="0" i="0"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gồm N tờ, để đảm bảo tính công bằng cho hai anh em thì mẹ quyết định chia só tiền đấy thành hai phần bằng nhau. Xác định xem mẹ có khả năng chia 2 số tiền đó thành 2 phần bằng nhau hay không</a:t>
            </a:r>
            <a:r>
              <a:rPr lang="en-US" b="0" i="0"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?</a:t>
            </a:r>
            <a:endParaRPr lang="vi-VN" b="0" i="0">
              <a:solidFill>
                <a:schemeClr val="tx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br>
              <a:rPr lang="vi-VN"/>
            </a:br>
            <a:endParaRPr lang="en-US"/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BE3DCB1D-7405-485A-98A0-4D4705B2AF27}"/>
              </a:ext>
            </a:extLst>
          </p:cNvPr>
          <p:cNvSpPr/>
          <p:nvPr/>
        </p:nvSpPr>
        <p:spPr>
          <a:xfrm rot="5400000">
            <a:off x="-345132" y="1024277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50" name="Picture 2" descr="Brothers - Free people icons">
            <a:extLst>
              <a:ext uri="{FF2B5EF4-FFF2-40B4-BE49-F238E27FC236}">
                <a16:creationId xmlns:a16="http://schemas.microsoft.com/office/drawing/2014/main" id="{A561D773-446E-40F0-B667-0B333E658D0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31016" y="3849997"/>
            <a:ext cx="1643270" cy="16432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" name="Expenses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FA2FFAA1-B16E-4D87-8D7A-0B203B51E6D8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 flipH="1">
            <a:off x="5454976" y="5594825"/>
            <a:ext cx="528749" cy="542925"/>
            <a:chOff x="6359525" y="3729038"/>
            <a:chExt cx="592138" cy="608013"/>
          </a:xfrm>
          <a:solidFill>
            <a:srgbClr val="000000"/>
          </a:solidFill>
        </p:grpSpPr>
        <p:sp>
          <p:nvSpPr>
            <p:cNvPr id="12" name="Oval 189">
              <a:extLst>
                <a:ext uri="{FF2B5EF4-FFF2-40B4-BE49-F238E27FC236}">
                  <a16:creationId xmlns:a16="http://schemas.microsoft.com/office/drawing/2014/main" id="{D5CEB833-610F-45C8-B3C0-728306BE93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97625" y="3973513"/>
              <a:ext cx="30163" cy="2698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Oval 190">
              <a:extLst>
                <a:ext uri="{FF2B5EF4-FFF2-40B4-BE49-F238E27FC236}">
                  <a16:creationId xmlns:a16="http://schemas.microsoft.com/office/drawing/2014/main" id="{060FE933-2095-461A-A9D7-80435C1469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97625" y="3767138"/>
              <a:ext cx="30163" cy="28575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Oval 191">
              <a:extLst>
                <a:ext uri="{FF2B5EF4-FFF2-40B4-BE49-F238E27FC236}">
                  <a16:creationId xmlns:a16="http://schemas.microsoft.com/office/drawing/2014/main" id="{9E321194-D5AC-4B28-8FF8-C3D98D8F37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84988" y="3973513"/>
              <a:ext cx="28575" cy="2698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Oval 192">
              <a:extLst>
                <a:ext uri="{FF2B5EF4-FFF2-40B4-BE49-F238E27FC236}">
                  <a16:creationId xmlns:a16="http://schemas.microsoft.com/office/drawing/2014/main" id="{34F4B14F-1136-473C-A7C6-CE6E47C076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84988" y="3767138"/>
              <a:ext cx="28575" cy="28575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Freeform 193">
              <a:extLst>
                <a:ext uri="{FF2B5EF4-FFF2-40B4-BE49-F238E27FC236}">
                  <a16:creationId xmlns:a16="http://schemas.microsoft.com/office/drawing/2014/main" id="{73EC2415-8D17-4E5B-AF33-1633CE43305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9525" y="3729038"/>
              <a:ext cx="592138" cy="482600"/>
            </a:xfrm>
            <a:custGeom>
              <a:avLst/>
              <a:gdLst>
                <a:gd name="T0" fmla="*/ 777 w 777"/>
                <a:gd name="T1" fmla="*/ 0 h 633"/>
                <a:gd name="T2" fmla="*/ 0 w 777"/>
                <a:gd name="T3" fmla="*/ 0 h 633"/>
                <a:gd name="T4" fmla="*/ 0 w 777"/>
                <a:gd name="T5" fmla="*/ 407 h 633"/>
                <a:gd name="T6" fmla="*/ 139 w 777"/>
                <a:gd name="T7" fmla="*/ 407 h 633"/>
                <a:gd name="T8" fmla="*/ 138 w 777"/>
                <a:gd name="T9" fmla="*/ 393 h 633"/>
                <a:gd name="T10" fmla="*/ 138 w 777"/>
                <a:gd name="T11" fmla="*/ 382 h 633"/>
                <a:gd name="T12" fmla="*/ 25 w 777"/>
                <a:gd name="T13" fmla="*/ 382 h 633"/>
                <a:gd name="T14" fmla="*/ 25 w 777"/>
                <a:gd name="T15" fmla="*/ 25 h 633"/>
                <a:gd name="T16" fmla="*/ 752 w 777"/>
                <a:gd name="T17" fmla="*/ 25 h 633"/>
                <a:gd name="T18" fmla="*/ 752 w 777"/>
                <a:gd name="T19" fmla="*/ 382 h 633"/>
                <a:gd name="T20" fmla="*/ 264 w 777"/>
                <a:gd name="T21" fmla="*/ 382 h 633"/>
                <a:gd name="T22" fmla="*/ 264 w 777"/>
                <a:gd name="T23" fmla="*/ 270 h 633"/>
                <a:gd name="T24" fmla="*/ 214 w 777"/>
                <a:gd name="T25" fmla="*/ 220 h 633"/>
                <a:gd name="T26" fmla="*/ 163 w 777"/>
                <a:gd name="T27" fmla="*/ 270 h 633"/>
                <a:gd name="T28" fmla="*/ 163 w 777"/>
                <a:gd name="T29" fmla="*/ 412 h 633"/>
                <a:gd name="T30" fmla="*/ 228 w 777"/>
                <a:gd name="T31" fmla="*/ 580 h 633"/>
                <a:gd name="T32" fmla="*/ 228 w 777"/>
                <a:gd name="T33" fmla="*/ 633 h 633"/>
                <a:gd name="T34" fmla="*/ 512 w 777"/>
                <a:gd name="T35" fmla="*/ 633 h 633"/>
                <a:gd name="T36" fmla="*/ 512 w 777"/>
                <a:gd name="T37" fmla="*/ 580 h 633"/>
                <a:gd name="T38" fmla="*/ 568 w 777"/>
                <a:gd name="T39" fmla="*/ 426 h 633"/>
                <a:gd name="T40" fmla="*/ 568 w 777"/>
                <a:gd name="T41" fmla="*/ 426 h 633"/>
                <a:gd name="T42" fmla="*/ 341 w 777"/>
                <a:gd name="T43" fmla="*/ 426 h 633"/>
                <a:gd name="T44" fmla="*/ 299 w 777"/>
                <a:gd name="T45" fmla="*/ 407 h 633"/>
                <a:gd name="T46" fmla="*/ 777 w 777"/>
                <a:gd name="T47" fmla="*/ 407 h 633"/>
                <a:gd name="T48" fmla="*/ 777 w 777"/>
                <a:gd name="T49" fmla="*/ 0 h 6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77" h="633">
                  <a:moveTo>
                    <a:pt x="777" y="0"/>
                  </a:moveTo>
                  <a:lnTo>
                    <a:pt x="0" y="0"/>
                  </a:lnTo>
                  <a:lnTo>
                    <a:pt x="0" y="407"/>
                  </a:lnTo>
                  <a:lnTo>
                    <a:pt x="139" y="407"/>
                  </a:lnTo>
                  <a:cubicBezTo>
                    <a:pt x="139" y="403"/>
                    <a:pt x="138" y="398"/>
                    <a:pt x="138" y="393"/>
                  </a:cubicBezTo>
                  <a:lnTo>
                    <a:pt x="138" y="382"/>
                  </a:lnTo>
                  <a:lnTo>
                    <a:pt x="25" y="382"/>
                  </a:lnTo>
                  <a:lnTo>
                    <a:pt x="25" y="25"/>
                  </a:lnTo>
                  <a:lnTo>
                    <a:pt x="752" y="25"/>
                  </a:lnTo>
                  <a:lnTo>
                    <a:pt x="752" y="382"/>
                  </a:lnTo>
                  <a:lnTo>
                    <a:pt x="264" y="382"/>
                  </a:lnTo>
                  <a:lnTo>
                    <a:pt x="264" y="270"/>
                  </a:lnTo>
                  <a:cubicBezTo>
                    <a:pt x="264" y="243"/>
                    <a:pt x="241" y="220"/>
                    <a:pt x="214" y="220"/>
                  </a:cubicBezTo>
                  <a:cubicBezTo>
                    <a:pt x="186" y="220"/>
                    <a:pt x="163" y="243"/>
                    <a:pt x="163" y="270"/>
                  </a:cubicBezTo>
                  <a:lnTo>
                    <a:pt x="163" y="412"/>
                  </a:lnTo>
                  <a:cubicBezTo>
                    <a:pt x="163" y="504"/>
                    <a:pt x="228" y="580"/>
                    <a:pt x="228" y="580"/>
                  </a:cubicBezTo>
                  <a:lnTo>
                    <a:pt x="228" y="633"/>
                  </a:lnTo>
                  <a:lnTo>
                    <a:pt x="512" y="633"/>
                  </a:lnTo>
                  <a:lnTo>
                    <a:pt x="512" y="580"/>
                  </a:lnTo>
                  <a:cubicBezTo>
                    <a:pt x="561" y="541"/>
                    <a:pt x="568" y="488"/>
                    <a:pt x="568" y="426"/>
                  </a:cubicBezTo>
                  <a:lnTo>
                    <a:pt x="568" y="426"/>
                  </a:lnTo>
                  <a:lnTo>
                    <a:pt x="341" y="426"/>
                  </a:lnTo>
                  <a:cubicBezTo>
                    <a:pt x="327" y="417"/>
                    <a:pt x="312" y="411"/>
                    <a:pt x="299" y="407"/>
                  </a:cubicBezTo>
                  <a:lnTo>
                    <a:pt x="777" y="407"/>
                  </a:lnTo>
                  <a:lnTo>
                    <a:pt x="777" y="0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Freeform 194">
              <a:extLst>
                <a:ext uri="{FF2B5EF4-FFF2-40B4-BE49-F238E27FC236}">
                  <a16:creationId xmlns:a16="http://schemas.microsoft.com/office/drawing/2014/main" id="{71F9F38D-A115-4308-924E-E6D59B7BB4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3500" y="3781426"/>
              <a:ext cx="485775" cy="206375"/>
            </a:xfrm>
            <a:custGeom>
              <a:avLst/>
              <a:gdLst>
                <a:gd name="T0" fmla="*/ 320 w 639"/>
                <a:gd name="T1" fmla="*/ 73 h 271"/>
                <a:gd name="T2" fmla="*/ 382 w 639"/>
                <a:gd name="T3" fmla="*/ 136 h 271"/>
                <a:gd name="T4" fmla="*/ 320 w 639"/>
                <a:gd name="T5" fmla="*/ 198 h 271"/>
                <a:gd name="T6" fmla="*/ 257 w 639"/>
                <a:gd name="T7" fmla="*/ 136 h 271"/>
                <a:gd name="T8" fmla="*/ 320 w 639"/>
                <a:gd name="T9" fmla="*/ 73 h 271"/>
                <a:gd name="T10" fmla="*/ 489 w 639"/>
                <a:gd name="T11" fmla="*/ 119 h 271"/>
                <a:gd name="T12" fmla="*/ 523 w 639"/>
                <a:gd name="T13" fmla="*/ 119 h 271"/>
                <a:gd name="T14" fmla="*/ 523 w 639"/>
                <a:gd name="T15" fmla="*/ 152 h 271"/>
                <a:gd name="T16" fmla="*/ 489 w 639"/>
                <a:gd name="T17" fmla="*/ 152 h 271"/>
                <a:gd name="T18" fmla="*/ 489 w 639"/>
                <a:gd name="T19" fmla="*/ 119 h 271"/>
                <a:gd name="T20" fmla="*/ 62 w 639"/>
                <a:gd name="T21" fmla="*/ 271 h 271"/>
                <a:gd name="T22" fmla="*/ 69 w 639"/>
                <a:gd name="T23" fmla="*/ 271 h 271"/>
                <a:gd name="T24" fmla="*/ 69 w 639"/>
                <a:gd name="T25" fmla="*/ 200 h 271"/>
                <a:gd name="T26" fmla="*/ 145 w 639"/>
                <a:gd name="T27" fmla="*/ 125 h 271"/>
                <a:gd name="T28" fmla="*/ 220 w 639"/>
                <a:gd name="T29" fmla="*/ 200 h 271"/>
                <a:gd name="T30" fmla="*/ 220 w 639"/>
                <a:gd name="T31" fmla="*/ 271 h 271"/>
                <a:gd name="T32" fmla="*/ 577 w 639"/>
                <a:gd name="T33" fmla="*/ 271 h 271"/>
                <a:gd name="T34" fmla="*/ 639 w 639"/>
                <a:gd name="T35" fmla="*/ 208 h 271"/>
                <a:gd name="T36" fmla="*/ 639 w 639"/>
                <a:gd name="T37" fmla="*/ 63 h 271"/>
                <a:gd name="T38" fmla="*/ 577 w 639"/>
                <a:gd name="T39" fmla="*/ 0 h 271"/>
                <a:gd name="T40" fmla="*/ 62 w 639"/>
                <a:gd name="T41" fmla="*/ 0 h 271"/>
                <a:gd name="T42" fmla="*/ 0 w 639"/>
                <a:gd name="T43" fmla="*/ 63 h 271"/>
                <a:gd name="T44" fmla="*/ 0 w 639"/>
                <a:gd name="T45" fmla="*/ 208 h 271"/>
                <a:gd name="T46" fmla="*/ 62 w 639"/>
                <a:gd name="T47" fmla="*/ 271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39" h="271">
                  <a:moveTo>
                    <a:pt x="320" y="73"/>
                  </a:moveTo>
                  <a:cubicBezTo>
                    <a:pt x="354" y="73"/>
                    <a:pt x="382" y="101"/>
                    <a:pt x="382" y="136"/>
                  </a:cubicBezTo>
                  <a:cubicBezTo>
                    <a:pt x="382" y="170"/>
                    <a:pt x="354" y="198"/>
                    <a:pt x="320" y="198"/>
                  </a:cubicBezTo>
                  <a:cubicBezTo>
                    <a:pt x="285" y="198"/>
                    <a:pt x="257" y="170"/>
                    <a:pt x="257" y="136"/>
                  </a:cubicBezTo>
                  <a:cubicBezTo>
                    <a:pt x="257" y="101"/>
                    <a:pt x="285" y="73"/>
                    <a:pt x="320" y="73"/>
                  </a:cubicBezTo>
                  <a:close/>
                  <a:moveTo>
                    <a:pt x="489" y="119"/>
                  </a:moveTo>
                  <a:lnTo>
                    <a:pt x="523" y="119"/>
                  </a:lnTo>
                  <a:lnTo>
                    <a:pt x="523" y="152"/>
                  </a:lnTo>
                  <a:lnTo>
                    <a:pt x="489" y="152"/>
                  </a:lnTo>
                  <a:lnTo>
                    <a:pt x="489" y="119"/>
                  </a:lnTo>
                  <a:close/>
                  <a:moveTo>
                    <a:pt x="62" y="271"/>
                  </a:moveTo>
                  <a:lnTo>
                    <a:pt x="69" y="271"/>
                  </a:lnTo>
                  <a:lnTo>
                    <a:pt x="69" y="200"/>
                  </a:lnTo>
                  <a:cubicBezTo>
                    <a:pt x="69" y="159"/>
                    <a:pt x="103" y="125"/>
                    <a:pt x="145" y="125"/>
                  </a:cubicBezTo>
                  <a:cubicBezTo>
                    <a:pt x="186" y="125"/>
                    <a:pt x="220" y="159"/>
                    <a:pt x="220" y="200"/>
                  </a:cubicBezTo>
                  <a:lnTo>
                    <a:pt x="220" y="271"/>
                  </a:lnTo>
                  <a:lnTo>
                    <a:pt x="577" y="271"/>
                  </a:lnTo>
                  <a:cubicBezTo>
                    <a:pt x="577" y="236"/>
                    <a:pt x="605" y="208"/>
                    <a:pt x="639" y="208"/>
                  </a:cubicBezTo>
                  <a:lnTo>
                    <a:pt x="639" y="63"/>
                  </a:lnTo>
                  <a:cubicBezTo>
                    <a:pt x="605" y="63"/>
                    <a:pt x="577" y="35"/>
                    <a:pt x="577" y="0"/>
                  </a:cubicBezTo>
                  <a:lnTo>
                    <a:pt x="62" y="0"/>
                  </a:lnTo>
                  <a:cubicBezTo>
                    <a:pt x="62" y="35"/>
                    <a:pt x="34" y="63"/>
                    <a:pt x="0" y="63"/>
                  </a:cubicBezTo>
                  <a:lnTo>
                    <a:pt x="0" y="208"/>
                  </a:lnTo>
                  <a:cubicBezTo>
                    <a:pt x="34" y="208"/>
                    <a:pt x="62" y="236"/>
                    <a:pt x="62" y="27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Freeform 195">
              <a:extLst>
                <a:ext uri="{FF2B5EF4-FFF2-40B4-BE49-F238E27FC236}">
                  <a16:creationId xmlns:a16="http://schemas.microsoft.com/office/drawing/2014/main" id="{F5C4A738-BE96-4A9C-AB0F-47C11BBC9D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97638" y="4237038"/>
              <a:ext cx="285750" cy="100013"/>
            </a:xfrm>
            <a:custGeom>
              <a:avLst/>
              <a:gdLst>
                <a:gd name="T0" fmla="*/ 295 w 375"/>
                <a:gd name="T1" fmla="*/ 47 h 131"/>
                <a:gd name="T2" fmla="*/ 328 w 375"/>
                <a:gd name="T3" fmla="*/ 47 h 131"/>
                <a:gd name="T4" fmla="*/ 328 w 375"/>
                <a:gd name="T5" fmla="*/ 81 h 131"/>
                <a:gd name="T6" fmla="*/ 295 w 375"/>
                <a:gd name="T7" fmla="*/ 81 h 131"/>
                <a:gd name="T8" fmla="*/ 295 w 375"/>
                <a:gd name="T9" fmla="*/ 47 h 131"/>
                <a:gd name="T10" fmla="*/ 0 w 375"/>
                <a:gd name="T11" fmla="*/ 131 h 131"/>
                <a:gd name="T12" fmla="*/ 375 w 375"/>
                <a:gd name="T13" fmla="*/ 131 h 131"/>
                <a:gd name="T14" fmla="*/ 375 w 375"/>
                <a:gd name="T15" fmla="*/ 0 h 131"/>
                <a:gd name="T16" fmla="*/ 0 w 375"/>
                <a:gd name="T17" fmla="*/ 0 h 131"/>
                <a:gd name="T18" fmla="*/ 0 w 375"/>
                <a:gd name="T19" fmla="*/ 131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5" h="131">
                  <a:moveTo>
                    <a:pt x="295" y="47"/>
                  </a:moveTo>
                  <a:lnTo>
                    <a:pt x="328" y="47"/>
                  </a:lnTo>
                  <a:lnTo>
                    <a:pt x="328" y="81"/>
                  </a:lnTo>
                  <a:lnTo>
                    <a:pt x="295" y="81"/>
                  </a:lnTo>
                  <a:lnTo>
                    <a:pt x="295" y="47"/>
                  </a:lnTo>
                  <a:close/>
                  <a:moveTo>
                    <a:pt x="0" y="131"/>
                  </a:moveTo>
                  <a:lnTo>
                    <a:pt x="375" y="131"/>
                  </a:lnTo>
                  <a:lnTo>
                    <a:pt x="375" y="0"/>
                  </a:lnTo>
                  <a:lnTo>
                    <a:pt x="0" y="0"/>
                  </a:lnTo>
                  <a:lnTo>
                    <a:pt x="0" y="131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0" name="Expenses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73F90C21-E17F-4A09-8FE9-1054922DEF14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4551991" y="5599787"/>
            <a:ext cx="528749" cy="542925"/>
            <a:chOff x="6359525" y="3729038"/>
            <a:chExt cx="592138" cy="608013"/>
          </a:xfrm>
          <a:solidFill>
            <a:srgbClr val="000000"/>
          </a:solidFill>
        </p:grpSpPr>
        <p:sp>
          <p:nvSpPr>
            <p:cNvPr id="21" name="Oval 189">
              <a:extLst>
                <a:ext uri="{FF2B5EF4-FFF2-40B4-BE49-F238E27FC236}">
                  <a16:creationId xmlns:a16="http://schemas.microsoft.com/office/drawing/2014/main" id="{D54EA490-530C-441D-936A-3D11AE1383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97625" y="3973513"/>
              <a:ext cx="30163" cy="2698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Oval 190">
              <a:extLst>
                <a:ext uri="{FF2B5EF4-FFF2-40B4-BE49-F238E27FC236}">
                  <a16:creationId xmlns:a16="http://schemas.microsoft.com/office/drawing/2014/main" id="{28EB3784-4BA5-4229-AC8B-3FE5095373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97625" y="3767138"/>
              <a:ext cx="30163" cy="28575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Oval 191">
              <a:extLst>
                <a:ext uri="{FF2B5EF4-FFF2-40B4-BE49-F238E27FC236}">
                  <a16:creationId xmlns:a16="http://schemas.microsoft.com/office/drawing/2014/main" id="{F5A2F6CA-B1B8-4646-AE28-4BB1558952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84988" y="3973513"/>
              <a:ext cx="28575" cy="2698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Oval 192">
              <a:extLst>
                <a:ext uri="{FF2B5EF4-FFF2-40B4-BE49-F238E27FC236}">
                  <a16:creationId xmlns:a16="http://schemas.microsoft.com/office/drawing/2014/main" id="{5350A7C6-8F32-4E18-B463-0931452BD3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84988" y="3767138"/>
              <a:ext cx="28575" cy="28575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Freeform 193">
              <a:extLst>
                <a:ext uri="{FF2B5EF4-FFF2-40B4-BE49-F238E27FC236}">
                  <a16:creationId xmlns:a16="http://schemas.microsoft.com/office/drawing/2014/main" id="{815FAA1E-2F67-4E27-960D-0F7ADD205611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9525" y="3729038"/>
              <a:ext cx="592138" cy="482600"/>
            </a:xfrm>
            <a:custGeom>
              <a:avLst/>
              <a:gdLst>
                <a:gd name="T0" fmla="*/ 777 w 777"/>
                <a:gd name="T1" fmla="*/ 0 h 633"/>
                <a:gd name="T2" fmla="*/ 0 w 777"/>
                <a:gd name="T3" fmla="*/ 0 h 633"/>
                <a:gd name="T4" fmla="*/ 0 w 777"/>
                <a:gd name="T5" fmla="*/ 407 h 633"/>
                <a:gd name="T6" fmla="*/ 139 w 777"/>
                <a:gd name="T7" fmla="*/ 407 h 633"/>
                <a:gd name="T8" fmla="*/ 138 w 777"/>
                <a:gd name="T9" fmla="*/ 393 h 633"/>
                <a:gd name="T10" fmla="*/ 138 w 777"/>
                <a:gd name="T11" fmla="*/ 382 h 633"/>
                <a:gd name="T12" fmla="*/ 25 w 777"/>
                <a:gd name="T13" fmla="*/ 382 h 633"/>
                <a:gd name="T14" fmla="*/ 25 w 777"/>
                <a:gd name="T15" fmla="*/ 25 h 633"/>
                <a:gd name="T16" fmla="*/ 752 w 777"/>
                <a:gd name="T17" fmla="*/ 25 h 633"/>
                <a:gd name="T18" fmla="*/ 752 w 777"/>
                <a:gd name="T19" fmla="*/ 382 h 633"/>
                <a:gd name="T20" fmla="*/ 264 w 777"/>
                <a:gd name="T21" fmla="*/ 382 h 633"/>
                <a:gd name="T22" fmla="*/ 264 w 777"/>
                <a:gd name="T23" fmla="*/ 270 h 633"/>
                <a:gd name="T24" fmla="*/ 214 w 777"/>
                <a:gd name="T25" fmla="*/ 220 h 633"/>
                <a:gd name="T26" fmla="*/ 163 w 777"/>
                <a:gd name="T27" fmla="*/ 270 h 633"/>
                <a:gd name="T28" fmla="*/ 163 w 777"/>
                <a:gd name="T29" fmla="*/ 412 h 633"/>
                <a:gd name="T30" fmla="*/ 228 w 777"/>
                <a:gd name="T31" fmla="*/ 580 h 633"/>
                <a:gd name="T32" fmla="*/ 228 w 777"/>
                <a:gd name="T33" fmla="*/ 633 h 633"/>
                <a:gd name="T34" fmla="*/ 512 w 777"/>
                <a:gd name="T35" fmla="*/ 633 h 633"/>
                <a:gd name="T36" fmla="*/ 512 w 777"/>
                <a:gd name="T37" fmla="*/ 580 h 633"/>
                <a:gd name="T38" fmla="*/ 568 w 777"/>
                <a:gd name="T39" fmla="*/ 426 h 633"/>
                <a:gd name="T40" fmla="*/ 568 w 777"/>
                <a:gd name="T41" fmla="*/ 426 h 633"/>
                <a:gd name="T42" fmla="*/ 341 w 777"/>
                <a:gd name="T43" fmla="*/ 426 h 633"/>
                <a:gd name="T44" fmla="*/ 299 w 777"/>
                <a:gd name="T45" fmla="*/ 407 h 633"/>
                <a:gd name="T46" fmla="*/ 777 w 777"/>
                <a:gd name="T47" fmla="*/ 407 h 633"/>
                <a:gd name="T48" fmla="*/ 777 w 777"/>
                <a:gd name="T49" fmla="*/ 0 h 6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77" h="633">
                  <a:moveTo>
                    <a:pt x="777" y="0"/>
                  </a:moveTo>
                  <a:lnTo>
                    <a:pt x="0" y="0"/>
                  </a:lnTo>
                  <a:lnTo>
                    <a:pt x="0" y="407"/>
                  </a:lnTo>
                  <a:lnTo>
                    <a:pt x="139" y="407"/>
                  </a:lnTo>
                  <a:cubicBezTo>
                    <a:pt x="139" y="403"/>
                    <a:pt x="138" y="398"/>
                    <a:pt x="138" y="393"/>
                  </a:cubicBezTo>
                  <a:lnTo>
                    <a:pt x="138" y="382"/>
                  </a:lnTo>
                  <a:lnTo>
                    <a:pt x="25" y="382"/>
                  </a:lnTo>
                  <a:lnTo>
                    <a:pt x="25" y="25"/>
                  </a:lnTo>
                  <a:lnTo>
                    <a:pt x="752" y="25"/>
                  </a:lnTo>
                  <a:lnTo>
                    <a:pt x="752" y="382"/>
                  </a:lnTo>
                  <a:lnTo>
                    <a:pt x="264" y="382"/>
                  </a:lnTo>
                  <a:lnTo>
                    <a:pt x="264" y="270"/>
                  </a:lnTo>
                  <a:cubicBezTo>
                    <a:pt x="264" y="243"/>
                    <a:pt x="241" y="220"/>
                    <a:pt x="214" y="220"/>
                  </a:cubicBezTo>
                  <a:cubicBezTo>
                    <a:pt x="186" y="220"/>
                    <a:pt x="163" y="243"/>
                    <a:pt x="163" y="270"/>
                  </a:cubicBezTo>
                  <a:lnTo>
                    <a:pt x="163" y="412"/>
                  </a:lnTo>
                  <a:cubicBezTo>
                    <a:pt x="163" y="504"/>
                    <a:pt x="228" y="580"/>
                    <a:pt x="228" y="580"/>
                  </a:cubicBezTo>
                  <a:lnTo>
                    <a:pt x="228" y="633"/>
                  </a:lnTo>
                  <a:lnTo>
                    <a:pt x="512" y="633"/>
                  </a:lnTo>
                  <a:lnTo>
                    <a:pt x="512" y="580"/>
                  </a:lnTo>
                  <a:cubicBezTo>
                    <a:pt x="561" y="541"/>
                    <a:pt x="568" y="488"/>
                    <a:pt x="568" y="426"/>
                  </a:cubicBezTo>
                  <a:lnTo>
                    <a:pt x="568" y="426"/>
                  </a:lnTo>
                  <a:lnTo>
                    <a:pt x="341" y="426"/>
                  </a:lnTo>
                  <a:cubicBezTo>
                    <a:pt x="327" y="417"/>
                    <a:pt x="312" y="411"/>
                    <a:pt x="299" y="407"/>
                  </a:cubicBezTo>
                  <a:lnTo>
                    <a:pt x="777" y="407"/>
                  </a:lnTo>
                  <a:lnTo>
                    <a:pt x="777" y="0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Freeform 194">
              <a:extLst>
                <a:ext uri="{FF2B5EF4-FFF2-40B4-BE49-F238E27FC236}">
                  <a16:creationId xmlns:a16="http://schemas.microsoft.com/office/drawing/2014/main" id="{3ED9C46A-7DC6-40C4-9796-6AEE590F006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3500" y="3781426"/>
              <a:ext cx="485775" cy="206375"/>
            </a:xfrm>
            <a:custGeom>
              <a:avLst/>
              <a:gdLst>
                <a:gd name="T0" fmla="*/ 320 w 639"/>
                <a:gd name="T1" fmla="*/ 73 h 271"/>
                <a:gd name="T2" fmla="*/ 382 w 639"/>
                <a:gd name="T3" fmla="*/ 136 h 271"/>
                <a:gd name="T4" fmla="*/ 320 w 639"/>
                <a:gd name="T5" fmla="*/ 198 h 271"/>
                <a:gd name="T6" fmla="*/ 257 w 639"/>
                <a:gd name="T7" fmla="*/ 136 h 271"/>
                <a:gd name="T8" fmla="*/ 320 w 639"/>
                <a:gd name="T9" fmla="*/ 73 h 271"/>
                <a:gd name="T10" fmla="*/ 489 w 639"/>
                <a:gd name="T11" fmla="*/ 119 h 271"/>
                <a:gd name="T12" fmla="*/ 523 w 639"/>
                <a:gd name="T13" fmla="*/ 119 h 271"/>
                <a:gd name="T14" fmla="*/ 523 w 639"/>
                <a:gd name="T15" fmla="*/ 152 h 271"/>
                <a:gd name="T16" fmla="*/ 489 w 639"/>
                <a:gd name="T17" fmla="*/ 152 h 271"/>
                <a:gd name="T18" fmla="*/ 489 w 639"/>
                <a:gd name="T19" fmla="*/ 119 h 271"/>
                <a:gd name="T20" fmla="*/ 62 w 639"/>
                <a:gd name="T21" fmla="*/ 271 h 271"/>
                <a:gd name="T22" fmla="*/ 69 w 639"/>
                <a:gd name="T23" fmla="*/ 271 h 271"/>
                <a:gd name="T24" fmla="*/ 69 w 639"/>
                <a:gd name="T25" fmla="*/ 200 h 271"/>
                <a:gd name="T26" fmla="*/ 145 w 639"/>
                <a:gd name="T27" fmla="*/ 125 h 271"/>
                <a:gd name="T28" fmla="*/ 220 w 639"/>
                <a:gd name="T29" fmla="*/ 200 h 271"/>
                <a:gd name="T30" fmla="*/ 220 w 639"/>
                <a:gd name="T31" fmla="*/ 271 h 271"/>
                <a:gd name="T32" fmla="*/ 577 w 639"/>
                <a:gd name="T33" fmla="*/ 271 h 271"/>
                <a:gd name="T34" fmla="*/ 639 w 639"/>
                <a:gd name="T35" fmla="*/ 208 h 271"/>
                <a:gd name="T36" fmla="*/ 639 w 639"/>
                <a:gd name="T37" fmla="*/ 63 h 271"/>
                <a:gd name="T38" fmla="*/ 577 w 639"/>
                <a:gd name="T39" fmla="*/ 0 h 271"/>
                <a:gd name="T40" fmla="*/ 62 w 639"/>
                <a:gd name="T41" fmla="*/ 0 h 271"/>
                <a:gd name="T42" fmla="*/ 0 w 639"/>
                <a:gd name="T43" fmla="*/ 63 h 271"/>
                <a:gd name="T44" fmla="*/ 0 w 639"/>
                <a:gd name="T45" fmla="*/ 208 h 271"/>
                <a:gd name="T46" fmla="*/ 62 w 639"/>
                <a:gd name="T47" fmla="*/ 271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39" h="271">
                  <a:moveTo>
                    <a:pt x="320" y="73"/>
                  </a:moveTo>
                  <a:cubicBezTo>
                    <a:pt x="354" y="73"/>
                    <a:pt x="382" y="101"/>
                    <a:pt x="382" y="136"/>
                  </a:cubicBezTo>
                  <a:cubicBezTo>
                    <a:pt x="382" y="170"/>
                    <a:pt x="354" y="198"/>
                    <a:pt x="320" y="198"/>
                  </a:cubicBezTo>
                  <a:cubicBezTo>
                    <a:pt x="285" y="198"/>
                    <a:pt x="257" y="170"/>
                    <a:pt x="257" y="136"/>
                  </a:cubicBezTo>
                  <a:cubicBezTo>
                    <a:pt x="257" y="101"/>
                    <a:pt x="285" y="73"/>
                    <a:pt x="320" y="73"/>
                  </a:cubicBezTo>
                  <a:close/>
                  <a:moveTo>
                    <a:pt x="489" y="119"/>
                  </a:moveTo>
                  <a:lnTo>
                    <a:pt x="523" y="119"/>
                  </a:lnTo>
                  <a:lnTo>
                    <a:pt x="523" y="152"/>
                  </a:lnTo>
                  <a:lnTo>
                    <a:pt x="489" y="152"/>
                  </a:lnTo>
                  <a:lnTo>
                    <a:pt x="489" y="119"/>
                  </a:lnTo>
                  <a:close/>
                  <a:moveTo>
                    <a:pt x="62" y="271"/>
                  </a:moveTo>
                  <a:lnTo>
                    <a:pt x="69" y="271"/>
                  </a:lnTo>
                  <a:lnTo>
                    <a:pt x="69" y="200"/>
                  </a:lnTo>
                  <a:cubicBezTo>
                    <a:pt x="69" y="159"/>
                    <a:pt x="103" y="125"/>
                    <a:pt x="145" y="125"/>
                  </a:cubicBezTo>
                  <a:cubicBezTo>
                    <a:pt x="186" y="125"/>
                    <a:pt x="220" y="159"/>
                    <a:pt x="220" y="200"/>
                  </a:cubicBezTo>
                  <a:lnTo>
                    <a:pt x="220" y="271"/>
                  </a:lnTo>
                  <a:lnTo>
                    <a:pt x="577" y="271"/>
                  </a:lnTo>
                  <a:cubicBezTo>
                    <a:pt x="577" y="236"/>
                    <a:pt x="605" y="208"/>
                    <a:pt x="639" y="208"/>
                  </a:cubicBezTo>
                  <a:lnTo>
                    <a:pt x="639" y="63"/>
                  </a:lnTo>
                  <a:cubicBezTo>
                    <a:pt x="605" y="63"/>
                    <a:pt x="577" y="35"/>
                    <a:pt x="577" y="0"/>
                  </a:cubicBezTo>
                  <a:lnTo>
                    <a:pt x="62" y="0"/>
                  </a:lnTo>
                  <a:cubicBezTo>
                    <a:pt x="62" y="35"/>
                    <a:pt x="34" y="63"/>
                    <a:pt x="0" y="63"/>
                  </a:cubicBezTo>
                  <a:lnTo>
                    <a:pt x="0" y="208"/>
                  </a:lnTo>
                  <a:cubicBezTo>
                    <a:pt x="34" y="208"/>
                    <a:pt x="62" y="236"/>
                    <a:pt x="62" y="27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Freeform 195">
              <a:extLst>
                <a:ext uri="{FF2B5EF4-FFF2-40B4-BE49-F238E27FC236}">
                  <a16:creationId xmlns:a16="http://schemas.microsoft.com/office/drawing/2014/main" id="{DA6AF988-91A5-48EA-BDCB-7F985E52CE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97638" y="4237038"/>
              <a:ext cx="285750" cy="100013"/>
            </a:xfrm>
            <a:custGeom>
              <a:avLst/>
              <a:gdLst>
                <a:gd name="T0" fmla="*/ 295 w 375"/>
                <a:gd name="T1" fmla="*/ 47 h 131"/>
                <a:gd name="T2" fmla="*/ 328 w 375"/>
                <a:gd name="T3" fmla="*/ 47 h 131"/>
                <a:gd name="T4" fmla="*/ 328 w 375"/>
                <a:gd name="T5" fmla="*/ 81 h 131"/>
                <a:gd name="T6" fmla="*/ 295 w 375"/>
                <a:gd name="T7" fmla="*/ 81 h 131"/>
                <a:gd name="T8" fmla="*/ 295 w 375"/>
                <a:gd name="T9" fmla="*/ 47 h 131"/>
                <a:gd name="T10" fmla="*/ 0 w 375"/>
                <a:gd name="T11" fmla="*/ 131 h 131"/>
                <a:gd name="T12" fmla="*/ 375 w 375"/>
                <a:gd name="T13" fmla="*/ 131 h 131"/>
                <a:gd name="T14" fmla="*/ 375 w 375"/>
                <a:gd name="T15" fmla="*/ 0 h 131"/>
                <a:gd name="T16" fmla="*/ 0 w 375"/>
                <a:gd name="T17" fmla="*/ 0 h 131"/>
                <a:gd name="T18" fmla="*/ 0 w 375"/>
                <a:gd name="T19" fmla="*/ 131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5" h="131">
                  <a:moveTo>
                    <a:pt x="295" y="47"/>
                  </a:moveTo>
                  <a:lnTo>
                    <a:pt x="328" y="47"/>
                  </a:lnTo>
                  <a:lnTo>
                    <a:pt x="328" y="81"/>
                  </a:lnTo>
                  <a:lnTo>
                    <a:pt x="295" y="81"/>
                  </a:lnTo>
                  <a:lnTo>
                    <a:pt x="295" y="47"/>
                  </a:lnTo>
                  <a:close/>
                  <a:moveTo>
                    <a:pt x="0" y="131"/>
                  </a:moveTo>
                  <a:lnTo>
                    <a:pt x="375" y="131"/>
                  </a:lnTo>
                  <a:lnTo>
                    <a:pt x="375" y="0"/>
                  </a:lnTo>
                  <a:lnTo>
                    <a:pt x="0" y="0"/>
                  </a:lnTo>
                  <a:lnTo>
                    <a:pt x="0" y="131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5575534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EB31B8BF-1768-41AD-979A-58C78471AB0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722783" y="1840224"/>
            <a:ext cx="7156173" cy="2220471"/>
          </a:xfrm>
        </p:spPr>
        <p:txBody>
          <a:bodyPr/>
          <a:lstStyle/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/>
              <a:t>Kiểm tra tổng giá trị là số chẵn hay lẻ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/>
              <a:t>Chọn ra các tập hợp tờ tiền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/>
              <a:t>Tính tổng giá trị các tập hợp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/>
              <a:t>Tìm tập hợp nào có tổng giá trị bằng nửa số tiền.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42C3E942-A587-4796-BE2B-89332CAE86AC}"/>
              </a:ext>
            </a:extLst>
          </p:cNvPr>
          <p:cNvSpPr txBox="1">
            <a:spLocks/>
          </p:cNvSpPr>
          <p:nvPr/>
        </p:nvSpPr>
        <p:spPr>
          <a:xfrm>
            <a:off x="808384" y="1122361"/>
            <a:ext cx="5287616" cy="5474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60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marR="0" lvl="1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marR="0" lvl="2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marR="0" lvl="3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marR="0" lvl="4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marR="0" lvl="5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marR="0" lvl="6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marR="0" lvl="7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marR="0" lvl="8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r>
              <a:rPr lang="en-US" sz="4000"/>
              <a:t>Bài 1: Decomposition</a:t>
            </a: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6FD1D124-D3FC-48B2-8190-06225B6CE235}"/>
              </a:ext>
            </a:extLst>
          </p:cNvPr>
          <p:cNvSpPr/>
          <p:nvPr/>
        </p:nvSpPr>
        <p:spPr>
          <a:xfrm rot="5400000">
            <a:off x="-345132" y="1024277"/>
            <a:ext cx="1433845" cy="74358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26" name="Picture 2" descr="Bugs Bunny Money GIF by Looney Tunes">
            <a:extLst>
              <a:ext uri="{FF2B5EF4-FFF2-40B4-BE49-F238E27FC236}">
                <a16:creationId xmlns:a16="http://schemas.microsoft.com/office/drawing/2014/main" id="{92F8C413-21B5-4CC9-AA0F-D090D7292960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28173" y="4113342"/>
            <a:ext cx="3735654" cy="2702349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198443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  <p:bldP spid="4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Arrow_stripes_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island*paradise*retired*sea*ocean*travellin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island*paradise*retired*sea*ocean*travellin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island*paradise*retired*sea*ocean*travellin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us*transport*city bus*public transportation*vehicle*public transit*transportation*bus stop*commuter*public*logistics*van*commute*transporation*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usiness peopl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island*paradise*retired*sea*ocean*travellin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ace_POWER_USER_SEPARATOR_ICONS_touristic-attraction_POWER_USER_SEPARATOR_ICONS_tourist_POWER_USER_SEPARATOR_ICONS_tourism_POWER_USER_SEPARATOR_ICONS_stone_POWER_USER_SEPARATOR_ICONS_statue_POWER_USER_SEPARATOR_ICONS_monolithic_POWER_USER_SEPARATOR_ICONS_moai_POWER_USER_SEPARATOR_ICONS_landmark_POWER_USER_SEPARATOR_ICONS_island_POWER_USER_SEPARATOR_ICONS_easter_POWER_USER_SEPARATOR_ICONS_civilization_POWER_USER_SEPARATOR_ICONS_visi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island*paradise*retired*sea*ocean*travellin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island*paradise*retired*sea*ocean*travelling"/>
</p:tagLst>
</file>

<file path=ppt/theme/theme1.xml><?xml version="1.0" encoding="utf-8"?>
<a:theme xmlns:a="http://schemas.openxmlformats.org/drawingml/2006/main" name="Gaoler template">
  <a:themeElements>
    <a:clrScheme name="Custom 347">
      <a:dk1>
        <a:srgbClr val="3A3F50"/>
      </a:dk1>
      <a:lt1>
        <a:srgbClr val="FFFFFF"/>
      </a:lt1>
      <a:dk2>
        <a:srgbClr val="757B89"/>
      </a:dk2>
      <a:lt2>
        <a:srgbClr val="E9EAF2"/>
      </a:lt2>
      <a:accent1>
        <a:srgbClr val="00B5DD"/>
      </a:accent1>
      <a:accent2>
        <a:srgbClr val="007BB9"/>
      </a:accent2>
      <a:accent3>
        <a:srgbClr val="8C50FF"/>
      </a:accent3>
      <a:accent4>
        <a:srgbClr val="FF4D4D"/>
      </a:accent4>
      <a:accent5>
        <a:srgbClr val="F9CB07"/>
      </a:accent5>
      <a:accent6>
        <a:srgbClr val="A6CE28"/>
      </a:accent6>
      <a:hlink>
        <a:srgbClr val="007BB9"/>
      </a:hlink>
      <a:folHlink>
        <a:srgbClr val="6611CC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Gaoler template">
  <a:themeElements>
    <a:clrScheme name="Custom 347">
      <a:dk1>
        <a:srgbClr val="3A3F50"/>
      </a:dk1>
      <a:lt1>
        <a:srgbClr val="FFFFFF"/>
      </a:lt1>
      <a:dk2>
        <a:srgbClr val="757B89"/>
      </a:dk2>
      <a:lt2>
        <a:srgbClr val="E9EAF2"/>
      </a:lt2>
      <a:accent1>
        <a:srgbClr val="00B5DD"/>
      </a:accent1>
      <a:accent2>
        <a:srgbClr val="007BB9"/>
      </a:accent2>
      <a:accent3>
        <a:srgbClr val="8C50FF"/>
      </a:accent3>
      <a:accent4>
        <a:srgbClr val="FF4D4D"/>
      </a:accent4>
      <a:accent5>
        <a:srgbClr val="F9CB07"/>
      </a:accent5>
      <a:accent6>
        <a:srgbClr val="A6CE28"/>
      </a:accent6>
      <a:hlink>
        <a:srgbClr val="007BB9"/>
      </a:hlink>
      <a:folHlink>
        <a:srgbClr val="6611CC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Gaoler · SlidesCarnival</Template>
  <TotalTime>2155</TotalTime>
  <Words>2002</Words>
  <Application>Microsoft Office PowerPoint</Application>
  <PresentationFormat>Widescreen</PresentationFormat>
  <Paragraphs>302</Paragraphs>
  <Slides>25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25</vt:i4>
      </vt:variant>
    </vt:vector>
  </HeadingPairs>
  <TitlesOfParts>
    <vt:vector size="36" baseType="lpstr">
      <vt:lpstr>Raleway Thin</vt:lpstr>
      <vt:lpstr>Raleway</vt:lpstr>
      <vt:lpstr>Oswald</vt:lpstr>
      <vt:lpstr>Consolas</vt:lpstr>
      <vt:lpstr>Calibri</vt:lpstr>
      <vt:lpstr>Sitka Text Semibold</vt:lpstr>
      <vt:lpstr>Arial</vt:lpstr>
      <vt:lpstr>Symbol</vt:lpstr>
      <vt:lpstr>Barlow Light</vt:lpstr>
      <vt:lpstr>Gaoler template</vt:lpstr>
      <vt:lpstr>1_Gaoler template</vt:lpstr>
      <vt:lpstr>LUYỆN TẬP THIẾT KẾ THUẬT TOÁN</vt:lpstr>
      <vt:lpstr>Thành viên nhóm:</vt:lpstr>
      <vt:lpstr>PowerPoint Presentation</vt:lpstr>
      <vt:lpstr>PowerPoint Presentation</vt:lpstr>
      <vt:lpstr>PowerPoint Presentation</vt:lpstr>
      <vt:lpstr>Tại sao nên dùng computational thinking?</vt:lpstr>
      <vt:lpstr>PowerPoint Presentation</vt:lpstr>
      <vt:lpstr>Bài 1:</vt:lpstr>
      <vt:lpstr>PowerPoint Presentation</vt:lpstr>
      <vt:lpstr>PowerPoint Presentation</vt:lpstr>
      <vt:lpstr>PowerPoint Presentation</vt:lpstr>
      <vt:lpstr>PowerPoint Presentation</vt:lpstr>
      <vt:lpstr>Bài 2:</vt:lpstr>
      <vt:lpstr>Bài 2: Decomposition</vt:lpstr>
      <vt:lpstr>Bài 2: Abstraction</vt:lpstr>
      <vt:lpstr>Bài 2: Abstraction</vt:lpstr>
      <vt:lpstr>Bài 2: Pattern recognition</vt:lpstr>
      <vt:lpstr>Bài 2: Pattern recognition</vt:lpstr>
      <vt:lpstr>PowerPoint Presentation</vt:lpstr>
      <vt:lpstr>Bài 3:</vt:lpstr>
      <vt:lpstr>PowerPoint Presentation</vt:lpstr>
      <vt:lpstr>PowerPoint Presentation</vt:lpstr>
      <vt:lpstr>PowerPoint Presentation</vt:lpstr>
      <vt:lpstr>PowerPoint Presentation</vt:lpstr>
      <vt:lpstr>Cảm ơn thầy cô và các bạn đã lắng ngh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inh</dc:creator>
  <cp:lastModifiedBy>Nguyễn Lộc Linh</cp:lastModifiedBy>
  <cp:revision>143</cp:revision>
  <dcterms:created xsi:type="dcterms:W3CDTF">2021-05-21T14:55:51Z</dcterms:created>
  <dcterms:modified xsi:type="dcterms:W3CDTF">2021-06-08T10:17:37Z</dcterms:modified>
</cp:coreProperties>
</file>